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36"/>
  </p:notesMasterIdLst>
  <p:handoutMasterIdLst>
    <p:handoutMasterId r:id="rId37"/>
  </p:handoutMasterIdLst>
  <p:sldIdLst>
    <p:sldId id="480" r:id="rId7"/>
    <p:sldId id="517" r:id="rId8"/>
    <p:sldId id="518" r:id="rId9"/>
    <p:sldId id="519" r:id="rId10"/>
    <p:sldId id="477" r:id="rId11"/>
    <p:sldId id="507" r:id="rId12"/>
    <p:sldId id="508" r:id="rId13"/>
    <p:sldId id="512" r:id="rId14"/>
    <p:sldId id="509" r:id="rId15"/>
    <p:sldId id="510" r:id="rId16"/>
    <p:sldId id="511" r:id="rId17"/>
    <p:sldId id="513" r:id="rId18"/>
    <p:sldId id="514" r:id="rId19"/>
    <p:sldId id="515" r:id="rId20"/>
    <p:sldId id="516" r:id="rId21"/>
    <p:sldId id="521" r:id="rId22"/>
    <p:sldId id="522" r:id="rId23"/>
    <p:sldId id="523" r:id="rId24"/>
    <p:sldId id="524" r:id="rId25"/>
    <p:sldId id="525" r:id="rId26"/>
    <p:sldId id="526" r:id="rId27"/>
    <p:sldId id="532" r:id="rId28"/>
    <p:sldId id="527" r:id="rId29"/>
    <p:sldId id="531" r:id="rId30"/>
    <p:sldId id="528" r:id="rId31"/>
    <p:sldId id="529" r:id="rId32"/>
    <p:sldId id="533" r:id="rId33"/>
    <p:sldId id="534" r:id="rId34"/>
    <p:sldId id="473" r:id="rId35"/>
  </p:sldIdLst>
  <p:sldSz cx="9144000" cy="6858000" type="screen4x3"/>
  <p:notesSz cx="6797675" cy="9926638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93B2AB-5B25-4DE0-AC67-D65374230A3E}" v="2" dt="2022-11-16T16:44:06.3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7" autoAdjust="0"/>
    <p:restoredTop sz="95000" autoAdjust="0"/>
  </p:normalViewPr>
  <p:slideViewPr>
    <p:cSldViewPr snapToGrid="0" showGuides="1">
      <p:cViewPr varScale="1">
        <p:scale>
          <a:sx n="105" d="100"/>
          <a:sy n="105" d="100"/>
        </p:scale>
        <p:origin x="1578" y="108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ags" Target="tags/tag1.xml"/><Relationship Id="rId20" Type="http://schemas.openxmlformats.org/officeDocument/2006/relationships/slide" Target="slides/slide14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chy, Petr" userId="cc7d24c2-a1aa-4346-9baa-25b838949cf3" providerId="ADAL" clId="{E693B2AB-5B25-4DE0-AC67-D65374230A3E}"/>
    <pc:docChg chg="modSld">
      <pc:chgData name="Suchy, Petr" userId="cc7d24c2-a1aa-4346-9baa-25b838949cf3" providerId="ADAL" clId="{E693B2AB-5B25-4DE0-AC67-D65374230A3E}" dt="2022-11-16T16:44:06.376" v="1" actId="20577"/>
      <pc:docMkLst>
        <pc:docMk/>
      </pc:docMkLst>
      <pc:sldChg chg="modSp mod">
        <pc:chgData name="Suchy, Petr" userId="cc7d24c2-a1aa-4346-9baa-25b838949cf3" providerId="ADAL" clId="{E693B2AB-5B25-4DE0-AC67-D65374230A3E}" dt="2022-11-16T16:44:06.376" v="1" actId="20577"/>
        <pc:sldMkLst>
          <pc:docMk/>
          <pc:sldMk cId="1733703533" sldId="534"/>
        </pc:sldMkLst>
        <pc:spChg chg="mod">
          <ac:chgData name="Suchy, Petr" userId="cc7d24c2-a1aa-4346-9baa-25b838949cf3" providerId="ADAL" clId="{E693B2AB-5B25-4DE0-AC67-D65374230A3E}" dt="2022-11-16T16:44:06.376" v="1" actId="20577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  <pc:docChgLst>
    <pc:chgData name="Suchy, Petr" userId="cc7d24c2-a1aa-4346-9baa-25b838949cf3" providerId="ADAL" clId="{D13B0483-3939-453D-A284-C85334D1F66E}"/>
    <pc:docChg chg="modSld">
      <pc:chgData name="Suchy, Petr" userId="cc7d24c2-a1aa-4346-9baa-25b838949cf3" providerId="ADAL" clId="{D13B0483-3939-453D-A284-C85334D1F66E}" dt="2022-10-02T16:42:40.326" v="4"/>
      <pc:docMkLst>
        <pc:docMk/>
      </pc:docMkLst>
      <pc:sldChg chg="modSp mod">
        <pc:chgData name="Suchy, Petr" userId="cc7d24c2-a1aa-4346-9baa-25b838949cf3" providerId="ADAL" clId="{D13B0483-3939-453D-A284-C85334D1F66E}" dt="2022-10-02T16:34:14.717" v="3" actId="20577"/>
        <pc:sldMkLst>
          <pc:docMk/>
          <pc:sldMk cId="4082661168" sldId="480"/>
        </pc:sldMkLst>
        <pc:spChg chg="mod">
          <ac:chgData name="Suchy, Petr" userId="cc7d24c2-a1aa-4346-9baa-25b838949cf3" providerId="ADAL" clId="{D13B0483-3939-453D-A284-C85334D1F66E}" dt="2022-10-02T16:34:14.717" v="3" actId="20577"/>
          <ac:spMkLst>
            <pc:docMk/>
            <pc:sldMk cId="4082661168" sldId="480"/>
            <ac:spMk id="4" creationId="{00000000-0000-0000-0000-000000000000}"/>
          </ac:spMkLst>
        </pc:spChg>
      </pc:sldChg>
      <pc:sldChg chg="modSp mod">
        <pc:chgData name="Suchy, Petr" userId="cc7d24c2-a1aa-4346-9baa-25b838949cf3" providerId="ADAL" clId="{D13B0483-3939-453D-A284-C85334D1F66E}" dt="2022-10-02T16:42:40.326" v="4"/>
        <pc:sldMkLst>
          <pc:docMk/>
          <pc:sldMk cId="1733703533" sldId="534"/>
        </pc:sldMkLst>
        <pc:spChg chg="mod">
          <ac:chgData name="Suchy, Petr" userId="cc7d24c2-a1aa-4346-9baa-25b838949cf3" providerId="ADAL" clId="{D13B0483-3939-453D-A284-C85334D1F66E}" dt="2022-10-02T16:42:40.326" v="4"/>
          <ac:spMkLst>
            <pc:docMk/>
            <pc:sldMk cId="1733703533" sldId="534"/>
            <ac:spMk id="3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E1F7A2-EE79-4380-A344-7B88689D4F0B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1_2" csCatId="accent1" phldr="1"/>
      <dgm:spPr/>
    </dgm:pt>
    <dgm:pt modelId="{02BA7CEC-E557-4BEC-96A4-15176FF51746}">
      <dgm:prSet phldrT="[Text]" custT="1"/>
      <dgm:spPr/>
      <dgm:t>
        <a:bodyPr/>
        <a:lstStyle/>
        <a:p>
          <a:r>
            <a:rPr lang="cs-CZ" sz="1000" dirty="0"/>
            <a:t>Rozhodný den (účetní účinky)</a:t>
          </a:r>
          <a:endParaRPr lang="en-US" sz="1000" dirty="0"/>
        </a:p>
      </dgm:t>
    </dgm:pt>
    <dgm:pt modelId="{E3499D92-0F68-48A3-B1DD-EC55A90CD168}" type="parTrans" cxnId="{C493F822-8708-475B-8BF8-F6CEB42B8E98}">
      <dgm:prSet/>
      <dgm:spPr/>
      <dgm:t>
        <a:bodyPr/>
        <a:lstStyle/>
        <a:p>
          <a:endParaRPr lang="en-US"/>
        </a:p>
      </dgm:t>
    </dgm:pt>
    <dgm:pt modelId="{2A0D8795-5A94-481B-A00F-5261FE05C942}" type="sibTrans" cxnId="{C493F822-8708-475B-8BF8-F6CEB42B8E98}">
      <dgm:prSet/>
      <dgm:spPr/>
      <dgm:t>
        <a:bodyPr/>
        <a:lstStyle/>
        <a:p>
          <a:endParaRPr lang="en-US"/>
        </a:p>
      </dgm:t>
    </dgm:pt>
    <dgm:pt modelId="{1B2AB1CA-1DE7-4FB5-B94C-D537DCC401C9}">
      <dgm:prSet phldrT="[Text]" custT="1"/>
      <dgm:spPr/>
      <dgm:t>
        <a:bodyPr/>
        <a:lstStyle/>
        <a:p>
          <a:r>
            <a:rPr lang="cs-CZ" sz="1000" dirty="0"/>
            <a:t>Konečná závěrka a zahajovací rozvaha</a:t>
          </a:r>
        </a:p>
        <a:p>
          <a:endParaRPr lang="cs-CZ" sz="1000" dirty="0"/>
        </a:p>
        <a:p>
          <a:r>
            <a:rPr lang="cs-CZ" sz="1000" dirty="0"/>
            <a:t>Znalecké ocenění</a:t>
          </a:r>
          <a:endParaRPr lang="en-US" sz="1000" dirty="0"/>
        </a:p>
      </dgm:t>
    </dgm:pt>
    <dgm:pt modelId="{4281DB94-757A-49D8-AF3E-B307599939DE}" type="parTrans" cxnId="{D80FA54E-BD7F-4CC4-B0F8-711D1A2D6D0D}">
      <dgm:prSet/>
      <dgm:spPr/>
      <dgm:t>
        <a:bodyPr/>
        <a:lstStyle/>
        <a:p>
          <a:endParaRPr lang="en-US"/>
        </a:p>
      </dgm:t>
    </dgm:pt>
    <dgm:pt modelId="{114A162A-75DF-44D0-9192-2CF6CACEA0DE}" type="sibTrans" cxnId="{D80FA54E-BD7F-4CC4-B0F8-711D1A2D6D0D}">
      <dgm:prSet/>
      <dgm:spPr/>
      <dgm:t>
        <a:bodyPr/>
        <a:lstStyle/>
        <a:p>
          <a:endParaRPr lang="en-US"/>
        </a:p>
      </dgm:t>
    </dgm:pt>
    <dgm:pt modelId="{ECEADD8A-C3A9-44EF-A183-C08D0F36F954}">
      <dgm:prSet custT="1"/>
      <dgm:spPr/>
      <dgm:t>
        <a:bodyPr/>
        <a:lstStyle/>
        <a:p>
          <a:r>
            <a:rPr lang="cs-CZ" sz="1000" dirty="0"/>
            <a:t>Projekt</a:t>
          </a:r>
        </a:p>
        <a:p>
          <a:endParaRPr lang="cs-CZ" sz="1000" dirty="0"/>
        </a:p>
        <a:p>
          <a:r>
            <a:rPr lang="cs-CZ" sz="1000" dirty="0"/>
            <a:t>Zpráva o přeměně / přezkoumání</a:t>
          </a:r>
          <a:endParaRPr lang="en-US" sz="1000" dirty="0"/>
        </a:p>
      </dgm:t>
    </dgm:pt>
    <dgm:pt modelId="{7D28BA08-4574-461D-A4A6-D2E87C7D503E}" type="parTrans" cxnId="{948A37A2-DAA5-4E72-A997-FE5287D6EFDC}">
      <dgm:prSet/>
      <dgm:spPr/>
      <dgm:t>
        <a:bodyPr/>
        <a:lstStyle/>
        <a:p>
          <a:endParaRPr lang="en-US"/>
        </a:p>
      </dgm:t>
    </dgm:pt>
    <dgm:pt modelId="{F3C76EA9-F97A-4F63-B9C7-4E5E667D6C25}" type="sibTrans" cxnId="{948A37A2-DAA5-4E72-A997-FE5287D6EFDC}">
      <dgm:prSet/>
      <dgm:spPr/>
      <dgm:t>
        <a:bodyPr/>
        <a:lstStyle/>
        <a:p>
          <a:endParaRPr lang="en-US"/>
        </a:p>
      </dgm:t>
    </dgm:pt>
    <dgm:pt modelId="{1284DE80-7032-4877-8848-55359E960C47}">
      <dgm:prSet custT="1"/>
      <dgm:spPr/>
      <dgm:t>
        <a:bodyPr/>
        <a:lstStyle/>
        <a:p>
          <a:r>
            <a:rPr lang="cs-CZ" sz="1000" dirty="0"/>
            <a:t>Zveřejnění</a:t>
          </a:r>
          <a:endParaRPr lang="en-US" sz="1000" dirty="0"/>
        </a:p>
      </dgm:t>
    </dgm:pt>
    <dgm:pt modelId="{9B223300-EC28-4D41-96B6-C3D6ECA1BF63}" type="parTrans" cxnId="{B0CE732E-ACF5-47D0-ABBE-E6B6EDCA90CF}">
      <dgm:prSet/>
      <dgm:spPr/>
      <dgm:t>
        <a:bodyPr/>
        <a:lstStyle/>
        <a:p>
          <a:endParaRPr lang="en-US"/>
        </a:p>
      </dgm:t>
    </dgm:pt>
    <dgm:pt modelId="{D1C7DA76-DDB4-49D5-B879-1120486703CB}" type="sibTrans" cxnId="{B0CE732E-ACF5-47D0-ABBE-E6B6EDCA90CF}">
      <dgm:prSet/>
      <dgm:spPr/>
      <dgm:t>
        <a:bodyPr/>
        <a:lstStyle/>
        <a:p>
          <a:endParaRPr lang="en-US"/>
        </a:p>
      </dgm:t>
    </dgm:pt>
    <dgm:pt modelId="{607330A3-BD0E-43A8-AF88-61AF616859DA}">
      <dgm:prSet custT="1"/>
      <dgm:spPr/>
      <dgm:t>
        <a:bodyPr/>
        <a:lstStyle/>
        <a:p>
          <a:r>
            <a:rPr lang="cs-CZ" sz="1000" dirty="0"/>
            <a:t>Schválení valnou hromadou</a:t>
          </a:r>
          <a:endParaRPr lang="en-US" sz="1000" dirty="0"/>
        </a:p>
      </dgm:t>
    </dgm:pt>
    <dgm:pt modelId="{7F237FCD-2B1D-408F-AAE4-7B3538967846}" type="parTrans" cxnId="{C2D07098-52E1-433F-979B-8E665E556F62}">
      <dgm:prSet/>
      <dgm:spPr/>
      <dgm:t>
        <a:bodyPr/>
        <a:lstStyle/>
        <a:p>
          <a:endParaRPr lang="en-US"/>
        </a:p>
      </dgm:t>
    </dgm:pt>
    <dgm:pt modelId="{83278760-3D1F-4031-A105-000F6EDBDE3A}" type="sibTrans" cxnId="{C2D07098-52E1-433F-979B-8E665E556F62}">
      <dgm:prSet/>
      <dgm:spPr/>
      <dgm:t>
        <a:bodyPr/>
        <a:lstStyle/>
        <a:p>
          <a:endParaRPr lang="en-US"/>
        </a:p>
      </dgm:t>
    </dgm:pt>
    <dgm:pt modelId="{188C0A74-3B33-4FDF-A017-AA01D17EB2E4}">
      <dgm:prSet custT="1"/>
      <dgm:spPr/>
      <dgm:t>
        <a:bodyPr/>
        <a:lstStyle/>
        <a:p>
          <a:r>
            <a:rPr lang="cs-CZ" sz="1000" dirty="0"/>
            <a:t>Zápis do OR</a:t>
          </a:r>
        </a:p>
        <a:p>
          <a:r>
            <a:rPr lang="cs-CZ" sz="1000" dirty="0"/>
            <a:t>(právní účinky)</a:t>
          </a:r>
          <a:endParaRPr lang="en-US" sz="1000" dirty="0"/>
        </a:p>
      </dgm:t>
    </dgm:pt>
    <dgm:pt modelId="{E3B0AB80-0A97-4B56-90ED-DF2888F3AA5C}" type="parTrans" cxnId="{5FF26F97-3B87-41D3-B8F5-D38866EA1BEB}">
      <dgm:prSet/>
      <dgm:spPr/>
      <dgm:t>
        <a:bodyPr/>
        <a:lstStyle/>
        <a:p>
          <a:endParaRPr lang="en-US"/>
        </a:p>
      </dgm:t>
    </dgm:pt>
    <dgm:pt modelId="{1F36AFED-CAD7-40D8-9F29-D6892BE4138F}" type="sibTrans" cxnId="{5FF26F97-3B87-41D3-B8F5-D38866EA1BEB}">
      <dgm:prSet/>
      <dgm:spPr/>
      <dgm:t>
        <a:bodyPr/>
        <a:lstStyle/>
        <a:p>
          <a:endParaRPr lang="en-US"/>
        </a:p>
      </dgm:t>
    </dgm:pt>
    <dgm:pt modelId="{F9A57252-EC7F-4482-8EC2-088CCFBA3CEA}">
      <dgm:prSet custT="1"/>
      <dgm:spPr/>
      <dgm:t>
        <a:bodyPr/>
        <a:lstStyle/>
        <a:p>
          <a:r>
            <a:rPr lang="cs-CZ" sz="1000" dirty="0"/>
            <a:t>Následné registrační kroky</a:t>
          </a:r>
          <a:endParaRPr lang="en-US" sz="1000" dirty="0"/>
        </a:p>
      </dgm:t>
    </dgm:pt>
    <dgm:pt modelId="{84EA996B-A61B-4A0C-B17F-D3FF19AC8241}" type="parTrans" cxnId="{DA253DC1-D8BE-4390-B9BA-E8792ECB8CF5}">
      <dgm:prSet/>
      <dgm:spPr/>
      <dgm:t>
        <a:bodyPr/>
        <a:lstStyle/>
        <a:p>
          <a:endParaRPr lang="en-US"/>
        </a:p>
      </dgm:t>
    </dgm:pt>
    <dgm:pt modelId="{B2693063-B40D-4373-8791-BA0E1F91448D}" type="sibTrans" cxnId="{DA253DC1-D8BE-4390-B9BA-E8792ECB8CF5}">
      <dgm:prSet/>
      <dgm:spPr/>
      <dgm:t>
        <a:bodyPr/>
        <a:lstStyle/>
        <a:p>
          <a:endParaRPr lang="en-US"/>
        </a:p>
      </dgm:t>
    </dgm:pt>
    <dgm:pt modelId="{CACA42A9-91CA-4E73-97BC-05AEF4C92DCA}" type="pres">
      <dgm:prSet presAssocID="{E7E1F7A2-EE79-4380-A344-7B88689D4F0B}" presName="Name0" presStyleCnt="0">
        <dgm:presLayoutVars>
          <dgm:dir/>
          <dgm:resizeHandles val="exact"/>
        </dgm:presLayoutVars>
      </dgm:prSet>
      <dgm:spPr/>
    </dgm:pt>
    <dgm:pt modelId="{4D7B6CA6-C13C-4929-8035-C066C37A9298}" type="pres">
      <dgm:prSet presAssocID="{02BA7CEC-E557-4BEC-96A4-15176FF51746}" presName="composite" presStyleCnt="0"/>
      <dgm:spPr/>
    </dgm:pt>
    <dgm:pt modelId="{E650B782-F922-40F9-A0C3-21748E089117}" type="pres">
      <dgm:prSet presAssocID="{02BA7CEC-E557-4BEC-96A4-15176FF51746}" presName="bgChev" presStyleLbl="node1" presStyleIdx="0" presStyleCnt="7"/>
      <dgm:spPr/>
    </dgm:pt>
    <dgm:pt modelId="{D2924550-E15C-4CCB-8496-EF74EB56A808}" type="pres">
      <dgm:prSet presAssocID="{02BA7CEC-E557-4BEC-96A4-15176FF51746}" presName="txNode" presStyleLbl="fgAcc1" presStyleIdx="0" presStyleCnt="7" custScaleY="193443">
        <dgm:presLayoutVars>
          <dgm:bulletEnabled val="1"/>
        </dgm:presLayoutVars>
      </dgm:prSet>
      <dgm:spPr/>
    </dgm:pt>
    <dgm:pt modelId="{9AA900DE-E5E3-4E7B-82C6-32E88EE2940D}" type="pres">
      <dgm:prSet presAssocID="{2A0D8795-5A94-481B-A00F-5261FE05C942}" presName="compositeSpace" presStyleCnt="0"/>
      <dgm:spPr/>
    </dgm:pt>
    <dgm:pt modelId="{CD895A5B-E953-4324-818B-E5481C34C8FE}" type="pres">
      <dgm:prSet presAssocID="{1B2AB1CA-1DE7-4FB5-B94C-D537DCC401C9}" presName="composite" presStyleCnt="0"/>
      <dgm:spPr/>
    </dgm:pt>
    <dgm:pt modelId="{E1EEC486-6021-4810-881A-2D338E6A5D0D}" type="pres">
      <dgm:prSet presAssocID="{1B2AB1CA-1DE7-4FB5-B94C-D537DCC401C9}" presName="bgChev" presStyleLbl="node1" presStyleIdx="1" presStyleCnt="7"/>
      <dgm:spPr/>
    </dgm:pt>
    <dgm:pt modelId="{F72F0F02-714A-45D1-9C94-3F35FC09C3A4}" type="pres">
      <dgm:prSet presAssocID="{1B2AB1CA-1DE7-4FB5-B94C-D537DCC401C9}" presName="txNode" presStyleLbl="fgAcc1" presStyleIdx="1" presStyleCnt="7" custScaleY="331952">
        <dgm:presLayoutVars>
          <dgm:bulletEnabled val="1"/>
        </dgm:presLayoutVars>
      </dgm:prSet>
      <dgm:spPr/>
    </dgm:pt>
    <dgm:pt modelId="{C9782F3B-9DAE-43B6-A917-060EAB180867}" type="pres">
      <dgm:prSet presAssocID="{114A162A-75DF-44D0-9192-2CF6CACEA0DE}" presName="compositeSpace" presStyleCnt="0"/>
      <dgm:spPr/>
    </dgm:pt>
    <dgm:pt modelId="{A63937D1-33E6-489C-950B-6AF0AACDD539}" type="pres">
      <dgm:prSet presAssocID="{ECEADD8A-C3A9-44EF-A183-C08D0F36F954}" presName="composite" presStyleCnt="0"/>
      <dgm:spPr/>
    </dgm:pt>
    <dgm:pt modelId="{010DE834-D409-40F0-A019-705957928122}" type="pres">
      <dgm:prSet presAssocID="{ECEADD8A-C3A9-44EF-A183-C08D0F36F954}" presName="bgChev" presStyleLbl="node1" presStyleIdx="2" presStyleCnt="7"/>
      <dgm:spPr/>
    </dgm:pt>
    <dgm:pt modelId="{8BEF6587-74CD-4FFB-A6A6-B3B3A2676EBA}" type="pres">
      <dgm:prSet presAssocID="{ECEADD8A-C3A9-44EF-A183-C08D0F36F954}" presName="txNode" presStyleLbl="fgAcc1" presStyleIdx="2" presStyleCnt="7" custScaleY="286858">
        <dgm:presLayoutVars>
          <dgm:bulletEnabled val="1"/>
        </dgm:presLayoutVars>
      </dgm:prSet>
      <dgm:spPr/>
    </dgm:pt>
    <dgm:pt modelId="{10080E38-32FD-46A8-8008-251E863690B4}" type="pres">
      <dgm:prSet presAssocID="{F3C76EA9-F97A-4F63-B9C7-4E5E667D6C25}" presName="compositeSpace" presStyleCnt="0"/>
      <dgm:spPr/>
    </dgm:pt>
    <dgm:pt modelId="{D661F61E-21A8-409F-A54C-D207E5993A97}" type="pres">
      <dgm:prSet presAssocID="{1284DE80-7032-4877-8848-55359E960C47}" presName="composite" presStyleCnt="0"/>
      <dgm:spPr/>
    </dgm:pt>
    <dgm:pt modelId="{F7AE8131-64BE-4F33-801F-2507D7A7C479}" type="pres">
      <dgm:prSet presAssocID="{1284DE80-7032-4877-8848-55359E960C47}" presName="bgChev" presStyleLbl="node1" presStyleIdx="3" presStyleCnt="7"/>
      <dgm:spPr/>
    </dgm:pt>
    <dgm:pt modelId="{0AB9CB16-1F72-48D6-8B5B-409A1F89DCE6}" type="pres">
      <dgm:prSet presAssocID="{1284DE80-7032-4877-8848-55359E960C47}" presName="txNode" presStyleLbl="fgAcc1" presStyleIdx="3" presStyleCnt="7">
        <dgm:presLayoutVars>
          <dgm:bulletEnabled val="1"/>
        </dgm:presLayoutVars>
      </dgm:prSet>
      <dgm:spPr/>
    </dgm:pt>
    <dgm:pt modelId="{AFBC51BF-E2D3-4136-800F-03911F631525}" type="pres">
      <dgm:prSet presAssocID="{D1C7DA76-DDB4-49D5-B879-1120486703CB}" presName="compositeSpace" presStyleCnt="0"/>
      <dgm:spPr/>
    </dgm:pt>
    <dgm:pt modelId="{ECEA41C0-9EA4-4E38-8295-B2BA4B94993E}" type="pres">
      <dgm:prSet presAssocID="{607330A3-BD0E-43A8-AF88-61AF616859DA}" presName="composite" presStyleCnt="0"/>
      <dgm:spPr/>
    </dgm:pt>
    <dgm:pt modelId="{E0B90D9D-0202-4B52-8B97-E0AB0A6B773C}" type="pres">
      <dgm:prSet presAssocID="{607330A3-BD0E-43A8-AF88-61AF616859DA}" presName="bgChev" presStyleLbl="node1" presStyleIdx="4" presStyleCnt="7"/>
      <dgm:spPr/>
    </dgm:pt>
    <dgm:pt modelId="{7AF85A95-AA7C-4676-BE0F-7811C5BB6FA4}" type="pres">
      <dgm:prSet presAssocID="{607330A3-BD0E-43A8-AF88-61AF616859DA}" presName="txNode" presStyleLbl="fgAcc1" presStyleIdx="4" presStyleCnt="7" custScaleY="169612">
        <dgm:presLayoutVars>
          <dgm:bulletEnabled val="1"/>
        </dgm:presLayoutVars>
      </dgm:prSet>
      <dgm:spPr/>
    </dgm:pt>
    <dgm:pt modelId="{C20FC6F9-AC38-4593-9252-44B81616CB19}" type="pres">
      <dgm:prSet presAssocID="{83278760-3D1F-4031-A105-000F6EDBDE3A}" presName="compositeSpace" presStyleCnt="0"/>
      <dgm:spPr/>
    </dgm:pt>
    <dgm:pt modelId="{AF677C7C-052A-43A5-B9B2-B23E06C9CB36}" type="pres">
      <dgm:prSet presAssocID="{188C0A74-3B33-4FDF-A017-AA01D17EB2E4}" presName="composite" presStyleCnt="0"/>
      <dgm:spPr/>
    </dgm:pt>
    <dgm:pt modelId="{96D53A2D-D523-4232-BDBA-5646B4F94F47}" type="pres">
      <dgm:prSet presAssocID="{188C0A74-3B33-4FDF-A017-AA01D17EB2E4}" presName="bgChev" presStyleLbl="node1" presStyleIdx="5" presStyleCnt="7"/>
      <dgm:spPr/>
    </dgm:pt>
    <dgm:pt modelId="{6FD955EB-261C-4444-A28D-60788F9D72E4}" type="pres">
      <dgm:prSet presAssocID="{188C0A74-3B33-4FDF-A017-AA01D17EB2E4}" presName="txNode" presStyleLbl="fgAcc1" presStyleIdx="5" presStyleCnt="7" custScaleY="193443">
        <dgm:presLayoutVars>
          <dgm:bulletEnabled val="1"/>
        </dgm:presLayoutVars>
      </dgm:prSet>
      <dgm:spPr/>
    </dgm:pt>
    <dgm:pt modelId="{0F7D08E3-83C0-41BC-8E63-AD96B93EE77C}" type="pres">
      <dgm:prSet presAssocID="{1F36AFED-CAD7-40D8-9F29-D6892BE4138F}" presName="compositeSpace" presStyleCnt="0"/>
      <dgm:spPr/>
    </dgm:pt>
    <dgm:pt modelId="{588AA4F5-6C2D-4386-8DC3-7AC5CCEAD0CB}" type="pres">
      <dgm:prSet presAssocID="{F9A57252-EC7F-4482-8EC2-088CCFBA3CEA}" presName="composite" presStyleCnt="0"/>
      <dgm:spPr/>
    </dgm:pt>
    <dgm:pt modelId="{BD88C3A4-ED11-4E7F-B056-5CFCC0CE15A0}" type="pres">
      <dgm:prSet presAssocID="{F9A57252-EC7F-4482-8EC2-088CCFBA3CEA}" presName="bgChev" presStyleLbl="node1" presStyleIdx="6" presStyleCnt="7"/>
      <dgm:spPr/>
    </dgm:pt>
    <dgm:pt modelId="{CACBDD5B-F8C7-4746-AC08-296E436F242C}" type="pres">
      <dgm:prSet presAssocID="{F9A57252-EC7F-4482-8EC2-088CCFBA3CEA}" presName="txNode" presStyleLbl="fgAcc1" presStyleIdx="6" presStyleCnt="7" custScaleY="169612">
        <dgm:presLayoutVars>
          <dgm:bulletEnabled val="1"/>
        </dgm:presLayoutVars>
      </dgm:prSet>
      <dgm:spPr/>
    </dgm:pt>
  </dgm:ptLst>
  <dgm:cxnLst>
    <dgm:cxn modelId="{C493F822-8708-475B-8BF8-F6CEB42B8E98}" srcId="{E7E1F7A2-EE79-4380-A344-7B88689D4F0B}" destId="{02BA7CEC-E557-4BEC-96A4-15176FF51746}" srcOrd="0" destOrd="0" parTransId="{E3499D92-0F68-48A3-B1DD-EC55A90CD168}" sibTransId="{2A0D8795-5A94-481B-A00F-5261FE05C942}"/>
    <dgm:cxn modelId="{B0CE732E-ACF5-47D0-ABBE-E6B6EDCA90CF}" srcId="{E7E1F7A2-EE79-4380-A344-7B88689D4F0B}" destId="{1284DE80-7032-4877-8848-55359E960C47}" srcOrd="3" destOrd="0" parTransId="{9B223300-EC28-4D41-96B6-C3D6ECA1BF63}" sibTransId="{D1C7DA76-DDB4-49D5-B879-1120486703CB}"/>
    <dgm:cxn modelId="{E6A4B338-06BE-419B-A666-8EC10D4BE47F}" type="presOf" srcId="{1284DE80-7032-4877-8848-55359E960C47}" destId="{0AB9CB16-1F72-48D6-8B5B-409A1F89DCE6}" srcOrd="0" destOrd="0" presId="urn:microsoft.com/office/officeart/2005/8/layout/chevronAccent+Icon"/>
    <dgm:cxn modelId="{D80FA54E-BD7F-4CC4-B0F8-711D1A2D6D0D}" srcId="{E7E1F7A2-EE79-4380-A344-7B88689D4F0B}" destId="{1B2AB1CA-1DE7-4FB5-B94C-D537DCC401C9}" srcOrd="1" destOrd="0" parTransId="{4281DB94-757A-49D8-AF3E-B307599939DE}" sibTransId="{114A162A-75DF-44D0-9192-2CF6CACEA0DE}"/>
    <dgm:cxn modelId="{358E9D71-6893-4CE3-A0CE-B6E02AD343FB}" type="presOf" srcId="{F9A57252-EC7F-4482-8EC2-088CCFBA3CEA}" destId="{CACBDD5B-F8C7-4746-AC08-296E436F242C}" srcOrd="0" destOrd="0" presId="urn:microsoft.com/office/officeart/2005/8/layout/chevronAccent+Icon"/>
    <dgm:cxn modelId="{AA85948A-2B08-4D2B-A049-E12ED1EFAD39}" type="presOf" srcId="{188C0A74-3B33-4FDF-A017-AA01D17EB2E4}" destId="{6FD955EB-261C-4444-A28D-60788F9D72E4}" srcOrd="0" destOrd="0" presId="urn:microsoft.com/office/officeart/2005/8/layout/chevronAccent+Icon"/>
    <dgm:cxn modelId="{5FF26F97-3B87-41D3-B8F5-D38866EA1BEB}" srcId="{E7E1F7A2-EE79-4380-A344-7B88689D4F0B}" destId="{188C0A74-3B33-4FDF-A017-AA01D17EB2E4}" srcOrd="5" destOrd="0" parTransId="{E3B0AB80-0A97-4B56-90ED-DF2888F3AA5C}" sibTransId="{1F36AFED-CAD7-40D8-9F29-D6892BE4138F}"/>
    <dgm:cxn modelId="{C2D07098-52E1-433F-979B-8E665E556F62}" srcId="{E7E1F7A2-EE79-4380-A344-7B88689D4F0B}" destId="{607330A3-BD0E-43A8-AF88-61AF616859DA}" srcOrd="4" destOrd="0" parTransId="{7F237FCD-2B1D-408F-AAE4-7B3538967846}" sibTransId="{83278760-3D1F-4031-A105-000F6EDBDE3A}"/>
    <dgm:cxn modelId="{948A37A2-DAA5-4E72-A997-FE5287D6EFDC}" srcId="{E7E1F7A2-EE79-4380-A344-7B88689D4F0B}" destId="{ECEADD8A-C3A9-44EF-A183-C08D0F36F954}" srcOrd="2" destOrd="0" parTransId="{7D28BA08-4574-461D-A4A6-D2E87C7D503E}" sibTransId="{F3C76EA9-F97A-4F63-B9C7-4E5E667D6C25}"/>
    <dgm:cxn modelId="{BE06F4A2-0A90-46B4-BCBE-1EA0FAEA5C44}" type="presOf" srcId="{ECEADD8A-C3A9-44EF-A183-C08D0F36F954}" destId="{8BEF6587-74CD-4FFB-A6A6-B3B3A2676EBA}" srcOrd="0" destOrd="0" presId="urn:microsoft.com/office/officeart/2005/8/layout/chevronAccent+Icon"/>
    <dgm:cxn modelId="{2997FDB1-1FC7-4137-8AFB-64EE8A17A258}" type="presOf" srcId="{607330A3-BD0E-43A8-AF88-61AF616859DA}" destId="{7AF85A95-AA7C-4676-BE0F-7811C5BB6FA4}" srcOrd="0" destOrd="0" presId="urn:microsoft.com/office/officeart/2005/8/layout/chevronAccent+Icon"/>
    <dgm:cxn modelId="{9AEEABB4-8C9F-420D-A259-EA7D28D20FEA}" type="presOf" srcId="{E7E1F7A2-EE79-4380-A344-7B88689D4F0B}" destId="{CACA42A9-91CA-4E73-97BC-05AEF4C92DCA}" srcOrd="0" destOrd="0" presId="urn:microsoft.com/office/officeart/2005/8/layout/chevronAccent+Icon"/>
    <dgm:cxn modelId="{DA253DC1-D8BE-4390-B9BA-E8792ECB8CF5}" srcId="{E7E1F7A2-EE79-4380-A344-7B88689D4F0B}" destId="{F9A57252-EC7F-4482-8EC2-088CCFBA3CEA}" srcOrd="6" destOrd="0" parTransId="{84EA996B-A61B-4A0C-B17F-D3FF19AC8241}" sibTransId="{B2693063-B40D-4373-8791-BA0E1F91448D}"/>
    <dgm:cxn modelId="{87001CD7-D350-420E-9AAB-B21E0031A8D5}" type="presOf" srcId="{1B2AB1CA-1DE7-4FB5-B94C-D537DCC401C9}" destId="{F72F0F02-714A-45D1-9C94-3F35FC09C3A4}" srcOrd="0" destOrd="0" presId="urn:microsoft.com/office/officeart/2005/8/layout/chevronAccent+Icon"/>
    <dgm:cxn modelId="{5A12C2FC-8E19-4F21-A16D-61DFC57DB34E}" type="presOf" srcId="{02BA7CEC-E557-4BEC-96A4-15176FF51746}" destId="{D2924550-E15C-4CCB-8496-EF74EB56A808}" srcOrd="0" destOrd="0" presId="urn:microsoft.com/office/officeart/2005/8/layout/chevronAccent+Icon"/>
    <dgm:cxn modelId="{8DBB97D5-DC28-4DB7-AF69-274BF4D9113C}" type="presParOf" srcId="{CACA42A9-91CA-4E73-97BC-05AEF4C92DCA}" destId="{4D7B6CA6-C13C-4929-8035-C066C37A9298}" srcOrd="0" destOrd="0" presId="urn:microsoft.com/office/officeart/2005/8/layout/chevronAccent+Icon"/>
    <dgm:cxn modelId="{A2CEF3B6-AAF8-4E5A-B238-691F71D29FCF}" type="presParOf" srcId="{4D7B6CA6-C13C-4929-8035-C066C37A9298}" destId="{E650B782-F922-40F9-A0C3-21748E089117}" srcOrd="0" destOrd="0" presId="urn:microsoft.com/office/officeart/2005/8/layout/chevronAccent+Icon"/>
    <dgm:cxn modelId="{6D97CDDB-7C94-405A-9D4D-1F2118D814C9}" type="presParOf" srcId="{4D7B6CA6-C13C-4929-8035-C066C37A9298}" destId="{D2924550-E15C-4CCB-8496-EF74EB56A808}" srcOrd="1" destOrd="0" presId="urn:microsoft.com/office/officeart/2005/8/layout/chevronAccent+Icon"/>
    <dgm:cxn modelId="{7EE6527F-11F8-45ED-A430-AB55A7A94C49}" type="presParOf" srcId="{CACA42A9-91CA-4E73-97BC-05AEF4C92DCA}" destId="{9AA900DE-E5E3-4E7B-82C6-32E88EE2940D}" srcOrd="1" destOrd="0" presId="urn:microsoft.com/office/officeart/2005/8/layout/chevronAccent+Icon"/>
    <dgm:cxn modelId="{37142547-0938-475C-B5CE-DBAEEAE04B69}" type="presParOf" srcId="{CACA42A9-91CA-4E73-97BC-05AEF4C92DCA}" destId="{CD895A5B-E953-4324-818B-E5481C34C8FE}" srcOrd="2" destOrd="0" presId="urn:microsoft.com/office/officeart/2005/8/layout/chevronAccent+Icon"/>
    <dgm:cxn modelId="{A3019FF5-2F7A-4C77-8E93-F062ACBF5FCB}" type="presParOf" srcId="{CD895A5B-E953-4324-818B-E5481C34C8FE}" destId="{E1EEC486-6021-4810-881A-2D338E6A5D0D}" srcOrd="0" destOrd="0" presId="urn:microsoft.com/office/officeart/2005/8/layout/chevronAccent+Icon"/>
    <dgm:cxn modelId="{FBE35255-F914-418B-8515-C3CC636A1A3C}" type="presParOf" srcId="{CD895A5B-E953-4324-818B-E5481C34C8FE}" destId="{F72F0F02-714A-45D1-9C94-3F35FC09C3A4}" srcOrd="1" destOrd="0" presId="urn:microsoft.com/office/officeart/2005/8/layout/chevronAccent+Icon"/>
    <dgm:cxn modelId="{F975ADB3-4E44-4BA4-B745-C84965C299DA}" type="presParOf" srcId="{CACA42A9-91CA-4E73-97BC-05AEF4C92DCA}" destId="{C9782F3B-9DAE-43B6-A917-060EAB180867}" srcOrd="3" destOrd="0" presId="urn:microsoft.com/office/officeart/2005/8/layout/chevronAccent+Icon"/>
    <dgm:cxn modelId="{EFBCB7C4-DB1C-411B-A04E-A614B28CA92A}" type="presParOf" srcId="{CACA42A9-91CA-4E73-97BC-05AEF4C92DCA}" destId="{A63937D1-33E6-489C-950B-6AF0AACDD539}" srcOrd="4" destOrd="0" presId="urn:microsoft.com/office/officeart/2005/8/layout/chevronAccent+Icon"/>
    <dgm:cxn modelId="{41099381-8E8C-46D6-B5F8-B22161BFC663}" type="presParOf" srcId="{A63937D1-33E6-489C-950B-6AF0AACDD539}" destId="{010DE834-D409-40F0-A019-705957928122}" srcOrd="0" destOrd="0" presId="urn:microsoft.com/office/officeart/2005/8/layout/chevronAccent+Icon"/>
    <dgm:cxn modelId="{137F2E39-8E86-4158-A133-1A88B1EF5FFA}" type="presParOf" srcId="{A63937D1-33E6-489C-950B-6AF0AACDD539}" destId="{8BEF6587-74CD-4FFB-A6A6-B3B3A2676EBA}" srcOrd="1" destOrd="0" presId="urn:microsoft.com/office/officeart/2005/8/layout/chevronAccent+Icon"/>
    <dgm:cxn modelId="{839A3F45-0473-4E71-BD78-A6B691B3E0C4}" type="presParOf" srcId="{CACA42A9-91CA-4E73-97BC-05AEF4C92DCA}" destId="{10080E38-32FD-46A8-8008-251E863690B4}" srcOrd="5" destOrd="0" presId="urn:microsoft.com/office/officeart/2005/8/layout/chevronAccent+Icon"/>
    <dgm:cxn modelId="{6EA48CBE-8181-4DE3-A2CC-95DFFE1E3669}" type="presParOf" srcId="{CACA42A9-91CA-4E73-97BC-05AEF4C92DCA}" destId="{D661F61E-21A8-409F-A54C-D207E5993A97}" srcOrd="6" destOrd="0" presId="urn:microsoft.com/office/officeart/2005/8/layout/chevronAccent+Icon"/>
    <dgm:cxn modelId="{E45FF4AD-517C-42E0-856A-E9C0B3DCF954}" type="presParOf" srcId="{D661F61E-21A8-409F-A54C-D207E5993A97}" destId="{F7AE8131-64BE-4F33-801F-2507D7A7C479}" srcOrd="0" destOrd="0" presId="urn:microsoft.com/office/officeart/2005/8/layout/chevronAccent+Icon"/>
    <dgm:cxn modelId="{F0BC0424-8638-495B-BAEB-1C5DAF931132}" type="presParOf" srcId="{D661F61E-21A8-409F-A54C-D207E5993A97}" destId="{0AB9CB16-1F72-48D6-8B5B-409A1F89DCE6}" srcOrd="1" destOrd="0" presId="urn:microsoft.com/office/officeart/2005/8/layout/chevronAccent+Icon"/>
    <dgm:cxn modelId="{12E5F155-8629-418C-809A-F755ED715D4D}" type="presParOf" srcId="{CACA42A9-91CA-4E73-97BC-05AEF4C92DCA}" destId="{AFBC51BF-E2D3-4136-800F-03911F631525}" srcOrd="7" destOrd="0" presId="urn:microsoft.com/office/officeart/2005/8/layout/chevronAccent+Icon"/>
    <dgm:cxn modelId="{D229B529-FABF-4A85-BFAD-C97F8C84A61D}" type="presParOf" srcId="{CACA42A9-91CA-4E73-97BC-05AEF4C92DCA}" destId="{ECEA41C0-9EA4-4E38-8295-B2BA4B94993E}" srcOrd="8" destOrd="0" presId="urn:microsoft.com/office/officeart/2005/8/layout/chevronAccent+Icon"/>
    <dgm:cxn modelId="{A41DA9C1-C8A9-485E-A4A9-16CE4FEB0E71}" type="presParOf" srcId="{ECEA41C0-9EA4-4E38-8295-B2BA4B94993E}" destId="{E0B90D9D-0202-4B52-8B97-E0AB0A6B773C}" srcOrd="0" destOrd="0" presId="urn:microsoft.com/office/officeart/2005/8/layout/chevronAccent+Icon"/>
    <dgm:cxn modelId="{14DBB5A7-47E8-4C7F-AF4A-E2AF620C413E}" type="presParOf" srcId="{ECEA41C0-9EA4-4E38-8295-B2BA4B94993E}" destId="{7AF85A95-AA7C-4676-BE0F-7811C5BB6FA4}" srcOrd="1" destOrd="0" presId="urn:microsoft.com/office/officeart/2005/8/layout/chevronAccent+Icon"/>
    <dgm:cxn modelId="{7AA3ADF1-DE45-4843-9696-CE4C65F254EA}" type="presParOf" srcId="{CACA42A9-91CA-4E73-97BC-05AEF4C92DCA}" destId="{C20FC6F9-AC38-4593-9252-44B81616CB19}" srcOrd="9" destOrd="0" presId="urn:microsoft.com/office/officeart/2005/8/layout/chevronAccent+Icon"/>
    <dgm:cxn modelId="{B51B5419-420D-4626-A54F-199BE11E0697}" type="presParOf" srcId="{CACA42A9-91CA-4E73-97BC-05AEF4C92DCA}" destId="{AF677C7C-052A-43A5-B9B2-B23E06C9CB36}" srcOrd="10" destOrd="0" presId="urn:microsoft.com/office/officeart/2005/8/layout/chevronAccent+Icon"/>
    <dgm:cxn modelId="{527BA95C-0444-446F-8193-60E5C7C9DEFC}" type="presParOf" srcId="{AF677C7C-052A-43A5-B9B2-B23E06C9CB36}" destId="{96D53A2D-D523-4232-BDBA-5646B4F94F47}" srcOrd="0" destOrd="0" presId="urn:microsoft.com/office/officeart/2005/8/layout/chevronAccent+Icon"/>
    <dgm:cxn modelId="{BAC853CE-1268-442E-9B0F-1EC4A3BB689F}" type="presParOf" srcId="{AF677C7C-052A-43A5-B9B2-B23E06C9CB36}" destId="{6FD955EB-261C-4444-A28D-60788F9D72E4}" srcOrd="1" destOrd="0" presId="urn:microsoft.com/office/officeart/2005/8/layout/chevronAccent+Icon"/>
    <dgm:cxn modelId="{FEC620B3-6780-468E-AA6E-3155A5F5D99E}" type="presParOf" srcId="{CACA42A9-91CA-4E73-97BC-05AEF4C92DCA}" destId="{0F7D08E3-83C0-41BC-8E63-AD96B93EE77C}" srcOrd="11" destOrd="0" presId="urn:microsoft.com/office/officeart/2005/8/layout/chevronAccent+Icon"/>
    <dgm:cxn modelId="{DC019520-57E1-44AF-9357-CCB552B18837}" type="presParOf" srcId="{CACA42A9-91CA-4E73-97BC-05AEF4C92DCA}" destId="{588AA4F5-6C2D-4386-8DC3-7AC5CCEAD0CB}" srcOrd="12" destOrd="0" presId="urn:microsoft.com/office/officeart/2005/8/layout/chevronAccent+Icon"/>
    <dgm:cxn modelId="{5C6EF26A-73F8-4814-A56C-5C978F399355}" type="presParOf" srcId="{588AA4F5-6C2D-4386-8DC3-7AC5CCEAD0CB}" destId="{BD88C3A4-ED11-4E7F-B056-5CFCC0CE15A0}" srcOrd="0" destOrd="0" presId="urn:microsoft.com/office/officeart/2005/8/layout/chevronAccent+Icon"/>
    <dgm:cxn modelId="{658B78CF-76F2-40A4-8AB9-7427ACCF58EB}" type="presParOf" srcId="{588AA4F5-6C2D-4386-8DC3-7AC5CCEAD0CB}" destId="{CACBDD5B-F8C7-4746-AC08-296E436F242C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E1F7A2-EE79-4380-A344-7B88689D4F0B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3_2" csCatId="accent3" phldr="1"/>
      <dgm:spPr/>
    </dgm:pt>
    <dgm:pt modelId="{1B2AB1CA-1DE7-4FB5-B94C-D537DCC401C9}">
      <dgm:prSet phldrT="[Text]" custT="1"/>
      <dgm:spPr/>
      <dgm:t>
        <a:bodyPr/>
        <a:lstStyle/>
        <a:p>
          <a:r>
            <a:rPr lang="cs-CZ" sz="1000" dirty="0"/>
            <a:t>Znalecké ocenění</a:t>
          </a:r>
          <a:endParaRPr lang="en-US" sz="1000" dirty="0"/>
        </a:p>
      </dgm:t>
    </dgm:pt>
    <dgm:pt modelId="{4281DB94-757A-49D8-AF3E-B307599939DE}" type="parTrans" cxnId="{D80FA54E-BD7F-4CC4-B0F8-711D1A2D6D0D}">
      <dgm:prSet/>
      <dgm:spPr/>
      <dgm:t>
        <a:bodyPr/>
        <a:lstStyle/>
        <a:p>
          <a:endParaRPr lang="en-US"/>
        </a:p>
      </dgm:t>
    </dgm:pt>
    <dgm:pt modelId="{114A162A-75DF-44D0-9192-2CF6CACEA0DE}" type="sibTrans" cxnId="{D80FA54E-BD7F-4CC4-B0F8-711D1A2D6D0D}">
      <dgm:prSet/>
      <dgm:spPr/>
      <dgm:t>
        <a:bodyPr/>
        <a:lstStyle/>
        <a:p>
          <a:endParaRPr lang="en-US"/>
        </a:p>
      </dgm:t>
    </dgm:pt>
    <dgm:pt modelId="{ECEADD8A-C3A9-44EF-A183-C08D0F36F954}">
      <dgm:prSet custT="1"/>
      <dgm:spPr/>
      <dgm:t>
        <a:bodyPr/>
        <a:lstStyle/>
        <a:p>
          <a:r>
            <a:rPr lang="cs-CZ" sz="1000" dirty="0"/>
            <a:t>Projekt</a:t>
          </a:r>
        </a:p>
        <a:p>
          <a:endParaRPr lang="cs-CZ" sz="1000" dirty="0"/>
        </a:p>
        <a:p>
          <a:r>
            <a:rPr lang="cs-CZ" sz="1000" dirty="0"/>
            <a:t>Zpráva o přeměně / přezkoumání</a:t>
          </a:r>
          <a:endParaRPr lang="en-US" sz="1000" dirty="0"/>
        </a:p>
      </dgm:t>
    </dgm:pt>
    <dgm:pt modelId="{7D28BA08-4574-461D-A4A6-D2E87C7D503E}" type="parTrans" cxnId="{948A37A2-DAA5-4E72-A997-FE5287D6EFDC}">
      <dgm:prSet/>
      <dgm:spPr/>
      <dgm:t>
        <a:bodyPr/>
        <a:lstStyle/>
        <a:p>
          <a:endParaRPr lang="en-US"/>
        </a:p>
      </dgm:t>
    </dgm:pt>
    <dgm:pt modelId="{F3C76EA9-F97A-4F63-B9C7-4E5E667D6C25}" type="sibTrans" cxnId="{948A37A2-DAA5-4E72-A997-FE5287D6EFDC}">
      <dgm:prSet/>
      <dgm:spPr/>
      <dgm:t>
        <a:bodyPr/>
        <a:lstStyle/>
        <a:p>
          <a:endParaRPr lang="en-US"/>
        </a:p>
      </dgm:t>
    </dgm:pt>
    <dgm:pt modelId="{1284DE80-7032-4877-8848-55359E960C47}">
      <dgm:prSet custT="1"/>
      <dgm:spPr/>
      <dgm:t>
        <a:bodyPr/>
        <a:lstStyle/>
        <a:p>
          <a:r>
            <a:rPr lang="cs-CZ" sz="1000" dirty="0"/>
            <a:t>Zveřejnění</a:t>
          </a:r>
          <a:endParaRPr lang="en-US" sz="1000" dirty="0"/>
        </a:p>
      </dgm:t>
    </dgm:pt>
    <dgm:pt modelId="{9B223300-EC28-4D41-96B6-C3D6ECA1BF63}" type="parTrans" cxnId="{B0CE732E-ACF5-47D0-ABBE-E6B6EDCA90CF}">
      <dgm:prSet/>
      <dgm:spPr/>
      <dgm:t>
        <a:bodyPr/>
        <a:lstStyle/>
        <a:p>
          <a:endParaRPr lang="en-US"/>
        </a:p>
      </dgm:t>
    </dgm:pt>
    <dgm:pt modelId="{D1C7DA76-DDB4-49D5-B879-1120486703CB}" type="sibTrans" cxnId="{B0CE732E-ACF5-47D0-ABBE-E6B6EDCA90CF}">
      <dgm:prSet/>
      <dgm:spPr/>
      <dgm:t>
        <a:bodyPr/>
        <a:lstStyle/>
        <a:p>
          <a:endParaRPr lang="en-US"/>
        </a:p>
      </dgm:t>
    </dgm:pt>
    <dgm:pt modelId="{607330A3-BD0E-43A8-AF88-61AF616859DA}">
      <dgm:prSet custT="1"/>
      <dgm:spPr/>
      <dgm:t>
        <a:bodyPr/>
        <a:lstStyle/>
        <a:p>
          <a:r>
            <a:rPr lang="cs-CZ" sz="1000" dirty="0"/>
            <a:t>Schválení valnou hromadou</a:t>
          </a:r>
          <a:endParaRPr lang="en-US" sz="1000" dirty="0"/>
        </a:p>
      </dgm:t>
    </dgm:pt>
    <dgm:pt modelId="{7F237FCD-2B1D-408F-AAE4-7B3538967846}" type="parTrans" cxnId="{C2D07098-52E1-433F-979B-8E665E556F62}">
      <dgm:prSet/>
      <dgm:spPr/>
      <dgm:t>
        <a:bodyPr/>
        <a:lstStyle/>
        <a:p>
          <a:endParaRPr lang="en-US"/>
        </a:p>
      </dgm:t>
    </dgm:pt>
    <dgm:pt modelId="{83278760-3D1F-4031-A105-000F6EDBDE3A}" type="sibTrans" cxnId="{C2D07098-52E1-433F-979B-8E665E556F62}">
      <dgm:prSet/>
      <dgm:spPr/>
      <dgm:t>
        <a:bodyPr/>
        <a:lstStyle/>
        <a:p>
          <a:endParaRPr lang="en-US"/>
        </a:p>
      </dgm:t>
    </dgm:pt>
    <dgm:pt modelId="{188C0A74-3B33-4FDF-A017-AA01D17EB2E4}">
      <dgm:prSet custT="1"/>
      <dgm:spPr/>
      <dgm:t>
        <a:bodyPr/>
        <a:lstStyle/>
        <a:p>
          <a:r>
            <a:rPr lang="cs-CZ" sz="1000" dirty="0"/>
            <a:t>Zápis do OR</a:t>
          </a:r>
        </a:p>
        <a:p>
          <a:r>
            <a:rPr lang="cs-CZ" sz="1000" dirty="0"/>
            <a:t>(právní účinky)</a:t>
          </a:r>
          <a:endParaRPr lang="en-US" sz="1000" dirty="0"/>
        </a:p>
      </dgm:t>
    </dgm:pt>
    <dgm:pt modelId="{E3B0AB80-0A97-4B56-90ED-DF2888F3AA5C}" type="parTrans" cxnId="{5FF26F97-3B87-41D3-B8F5-D38866EA1BEB}">
      <dgm:prSet/>
      <dgm:spPr/>
      <dgm:t>
        <a:bodyPr/>
        <a:lstStyle/>
        <a:p>
          <a:endParaRPr lang="en-US"/>
        </a:p>
      </dgm:t>
    </dgm:pt>
    <dgm:pt modelId="{1F36AFED-CAD7-40D8-9F29-D6892BE4138F}" type="sibTrans" cxnId="{5FF26F97-3B87-41D3-B8F5-D38866EA1BEB}">
      <dgm:prSet/>
      <dgm:spPr/>
      <dgm:t>
        <a:bodyPr/>
        <a:lstStyle/>
        <a:p>
          <a:endParaRPr lang="en-US"/>
        </a:p>
      </dgm:t>
    </dgm:pt>
    <dgm:pt modelId="{F9A57252-EC7F-4482-8EC2-088CCFBA3CEA}">
      <dgm:prSet custT="1"/>
      <dgm:spPr/>
      <dgm:t>
        <a:bodyPr/>
        <a:lstStyle/>
        <a:p>
          <a:r>
            <a:rPr lang="cs-CZ" sz="1000" dirty="0"/>
            <a:t>Následné registrační kroky</a:t>
          </a:r>
          <a:endParaRPr lang="en-US" sz="1000" dirty="0"/>
        </a:p>
      </dgm:t>
    </dgm:pt>
    <dgm:pt modelId="{84EA996B-A61B-4A0C-B17F-D3FF19AC8241}" type="parTrans" cxnId="{DA253DC1-D8BE-4390-B9BA-E8792ECB8CF5}">
      <dgm:prSet/>
      <dgm:spPr/>
      <dgm:t>
        <a:bodyPr/>
        <a:lstStyle/>
        <a:p>
          <a:endParaRPr lang="en-US"/>
        </a:p>
      </dgm:t>
    </dgm:pt>
    <dgm:pt modelId="{B2693063-B40D-4373-8791-BA0E1F91448D}" type="sibTrans" cxnId="{DA253DC1-D8BE-4390-B9BA-E8792ECB8CF5}">
      <dgm:prSet/>
      <dgm:spPr/>
      <dgm:t>
        <a:bodyPr/>
        <a:lstStyle/>
        <a:p>
          <a:endParaRPr lang="en-US"/>
        </a:p>
      </dgm:t>
    </dgm:pt>
    <dgm:pt modelId="{2702726F-F0F4-4C58-BF75-B69F337B665A}">
      <dgm:prSet custT="1"/>
      <dgm:spPr/>
      <dgm:t>
        <a:bodyPr/>
        <a:lstStyle/>
        <a:p>
          <a:r>
            <a:rPr lang="cs-CZ" sz="1000" dirty="0"/>
            <a:t>Rozhodný den (účetní účinky)</a:t>
          </a:r>
          <a:endParaRPr lang="en-US" sz="1000" dirty="0"/>
        </a:p>
      </dgm:t>
    </dgm:pt>
    <dgm:pt modelId="{43A7C082-7BEE-4B17-BB66-9EBE557D2AB0}" type="parTrans" cxnId="{4780CE35-2E08-45C9-8465-F789FF15DB68}">
      <dgm:prSet/>
      <dgm:spPr/>
      <dgm:t>
        <a:bodyPr/>
        <a:lstStyle/>
        <a:p>
          <a:endParaRPr lang="en-US"/>
        </a:p>
      </dgm:t>
    </dgm:pt>
    <dgm:pt modelId="{D11BEF58-E3C5-4878-95A0-98FCE0E8786F}" type="sibTrans" cxnId="{4780CE35-2E08-45C9-8465-F789FF15DB68}">
      <dgm:prSet/>
      <dgm:spPr/>
      <dgm:t>
        <a:bodyPr/>
        <a:lstStyle/>
        <a:p>
          <a:endParaRPr lang="en-US"/>
        </a:p>
      </dgm:t>
    </dgm:pt>
    <dgm:pt modelId="{EA9131AF-C8E5-483C-B776-CA0E34D6A029}">
      <dgm:prSet custT="1"/>
      <dgm:spPr/>
      <dgm:t>
        <a:bodyPr/>
        <a:lstStyle/>
        <a:p>
          <a:r>
            <a:rPr lang="cs-CZ" sz="1000" dirty="0"/>
            <a:t>Konečná závěrka a zahajovací rozvaha</a:t>
          </a:r>
          <a:endParaRPr lang="en-US" sz="1000" dirty="0"/>
        </a:p>
      </dgm:t>
    </dgm:pt>
    <dgm:pt modelId="{82F31CF4-3C15-4244-B602-A1334915D13D}" type="parTrans" cxnId="{168FA6FA-8BAD-4EDB-909A-3367D57B1499}">
      <dgm:prSet/>
      <dgm:spPr/>
      <dgm:t>
        <a:bodyPr/>
        <a:lstStyle/>
        <a:p>
          <a:endParaRPr lang="en-US"/>
        </a:p>
      </dgm:t>
    </dgm:pt>
    <dgm:pt modelId="{F933EF16-54D1-4B59-B81B-3FE209913D83}" type="sibTrans" cxnId="{168FA6FA-8BAD-4EDB-909A-3367D57B1499}">
      <dgm:prSet/>
      <dgm:spPr/>
      <dgm:t>
        <a:bodyPr/>
        <a:lstStyle/>
        <a:p>
          <a:endParaRPr lang="en-US"/>
        </a:p>
      </dgm:t>
    </dgm:pt>
    <dgm:pt modelId="{CACA42A9-91CA-4E73-97BC-05AEF4C92DCA}" type="pres">
      <dgm:prSet presAssocID="{E7E1F7A2-EE79-4380-A344-7B88689D4F0B}" presName="Name0" presStyleCnt="0">
        <dgm:presLayoutVars>
          <dgm:dir/>
          <dgm:resizeHandles val="exact"/>
        </dgm:presLayoutVars>
      </dgm:prSet>
      <dgm:spPr/>
    </dgm:pt>
    <dgm:pt modelId="{CD895A5B-E953-4324-818B-E5481C34C8FE}" type="pres">
      <dgm:prSet presAssocID="{1B2AB1CA-1DE7-4FB5-B94C-D537DCC401C9}" presName="composite" presStyleCnt="0"/>
      <dgm:spPr/>
    </dgm:pt>
    <dgm:pt modelId="{E1EEC486-6021-4810-881A-2D338E6A5D0D}" type="pres">
      <dgm:prSet presAssocID="{1B2AB1CA-1DE7-4FB5-B94C-D537DCC401C9}" presName="bgChev" presStyleLbl="node1" presStyleIdx="0" presStyleCnt="8"/>
      <dgm:spPr/>
    </dgm:pt>
    <dgm:pt modelId="{F72F0F02-714A-45D1-9C94-3F35FC09C3A4}" type="pres">
      <dgm:prSet presAssocID="{1B2AB1CA-1DE7-4FB5-B94C-D537DCC401C9}" presName="txNode" presStyleLbl="fgAcc1" presStyleIdx="0" presStyleCnt="8" custScaleX="122849" custScaleY="151153">
        <dgm:presLayoutVars>
          <dgm:bulletEnabled val="1"/>
        </dgm:presLayoutVars>
      </dgm:prSet>
      <dgm:spPr/>
    </dgm:pt>
    <dgm:pt modelId="{C9782F3B-9DAE-43B6-A917-060EAB180867}" type="pres">
      <dgm:prSet presAssocID="{114A162A-75DF-44D0-9192-2CF6CACEA0DE}" presName="compositeSpace" presStyleCnt="0"/>
      <dgm:spPr/>
    </dgm:pt>
    <dgm:pt modelId="{A63937D1-33E6-489C-950B-6AF0AACDD539}" type="pres">
      <dgm:prSet presAssocID="{ECEADD8A-C3A9-44EF-A183-C08D0F36F954}" presName="composite" presStyleCnt="0"/>
      <dgm:spPr/>
    </dgm:pt>
    <dgm:pt modelId="{010DE834-D409-40F0-A019-705957928122}" type="pres">
      <dgm:prSet presAssocID="{ECEADD8A-C3A9-44EF-A183-C08D0F36F954}" presName="bgChev" presStyleLbl="node1" presStyleIdx="1" presStyleCnt="8"/>
      <dgm:spPr/>
    </dgm:pt>
    <dgm:pt modelId="{8BEF6587-74CD-4FFB-A6A6-B3B3A2676EBA}" type="pres">
      <dgm:prSet presAssocID="{ECEADD8A-C3A9-44EF-A183-C08D0F36F954}" presName="txNode" presStyleLbl="fgAcc1" presStyleIdx="1" presStyleCnt="8" custScaleX="121600" custScaleY="326989">
        <dgm:presLayoutVars>
          <dgm:bulletEnabled val="1"/>
        </dgm:presLayoutVars>
      </dgm:prSet>
      <dgm:spPr/>
    </dgm:pt>
    <dgm:pt modelId="{10080E38-32FD-46A8-8008-251E863690B4}" type="pres">
      <dgm:prSet presAssocID="{F3C76EA9-F97A-4F63-B9C7-4E5E667D6C25}" presName="compositeSpace" presStyleCnt="0"/>
      <dgm:spPr/>
    </dgm:pt>
    <dgm:pt modelId="{D661F61E-21A8-409F-A54C-D207E5993A97}" type="pres">
      <dgm:prSet presAssocID="{1284DE80-7032-4877-8848-55359E960C47}" presName="composite" presStyleCnt="0"/>
      <dgm:spPr/>
    </dgm:pt>
    <dgm:pt modelId="{F7AE8131-64BE-4F33-801F-2507D7A7C479}" type="pres">
      <dgm:prSet presAssocID="{1284DE80-7032-4877-8848-55359E960C47}" presName="bgChev" presStyleLbl="node1" presStyleIdx="2" presStyleCnt="8"/>
      <dgm:spPr/>
    </dgm:pt>
    <dgm:pt modelId="{0AB9CB16-1F72-48D6-8B5B-409A1F89DCE6}" type="pres">
      <dgm:prSet presAssocID="{1284DE80-7032-4877-8848-55359E960C47}" presName="txNode" presStyleLbl="fgAcc1" presStyleIdx="2" presStyleCnt="8">
        <dgm:presLayoutVars>
          <dgm:bulletEnabled val="1"/>
        </dgm:presLayoutVars>
      </dgm:prSet>
      <dgm:spPr/>
    </dgm:pt>
    <dgm:pt modelId="{AFBC51BF-E2D3-4136-800F-03911F631525}" type="pres">
      <dgm:prSet presAssocID="{D1C7DA76-DDB4-49D5-B879-1120486703CB}" presName="compositeSpace" presStyleCnt="0"/>
      <dgm:spPr/>
    </dgm:pt>
    <dgm:pt modelId="{ECEA41C0-9EA4-4E38-8295-B2BA4B94993E}" type="pres">
      <dgm:prSet presAssocID="{607330A3-BD0E-43A8-AF88-61AF616859DA}" presName="composite" presStyleCnt="0"/>
      <dgm:spPr/>
    </dgm:pt>
    <dgm:pt modelId="{E0B90D9D-0202-4B52-8B97-E0AB0A6B773C}" type="pres">
      <dgm:prSet presAssocID="{607330A3-BD0E-43A8-AF88-61AF616859DA}" presName="bgChev" presStyleLbl="node1" presStyleIdx="3" presStyleCnt="8"/>
      <dgm:spPr/>
    </dgm:pt>
    <dgm:pt modelId="{7AF85A95-AA7C-4676-BE0F-7811C5BB6FA4}" type="pres">
      <dgm:prSet presAssocID="{607330A3-BD0E-43A8-AF88-61AF616859DA}" presName="txNode" presStyleLbl="fgAcc1" presStyleIdx="3" presStyleCnt="8" custScaleX="122433" custScaleY="169612">
        <dgm:presLayoutVars>
          <dgm:bulletEnabled val="1"/>
        </dgm:presLayoutVars>
      </dgm:prSet>
      <dgm:spPr/>
    </dgm:pt>
    <dgm:pt modelId="{C20FC6F9-AC38-4593-9252-44B81616CB19}" type="pres">
      <dgm:prSet presAssocID="{83278760-3D1F-4031-A105-000F6EDBDE3A}" presName="compositeSpace" presStyleCnt="0"/>
      <dgm:spPr/>
    </dgm:pt>
    <dgm:pt modelId="{FAC9163B-C936-4016-AAAB-83D55C67FAF0}" type="pres">
      <dgm:prSet presAssocID="{2702726F-F0F4-4C58-BF75-B69F337B665A}" presName="composite" presStyleCnt="0"/>
      <dgm:spPr/>
    </dgm:pt>
    <dgm:pt modelId="{B812DCD2-DD5A-4008-B3CC-468CAFB16DD6}" type="pres">
      <dgm:prSet presAssocID="{2702726F-F0F4-4C58-BF75-B69F337B665A}" presName="bgChev" presStyleLbl="node1" presStyleIdx="4" presStyleCnt="8"/>
      <dgm:spPr/>
    </dgm:pt>
    <dgm:pt modelId="{A6A44044-48F9-4B6C-9217-CE9007047B49}" type="pres">
      <dgm:prSet presAssocID="{2702726F-F0F4-4C58-BF75-B69F337B665A}" presName="txNode" presStyleLbl="fgAcc1" presStyleIdx="4" presStyleCnt="8" custScaleX="115313" custScaleY="288290">
        <dgm:presLayoutVars>
          <dgm:bulletEnabled val="1"/>
        </dgm:presLayoutVars>
      </dgm:prSet>
      <dgm:spPr/>
    </dgm:pt>
    <dgm:pt modelId="{92DA6FCC-4955-4F62-83D8-95EFE1E1588D}" type="pres">
      <dgm:prSet presAssocID="{D11BEF58-E3C5-4878-95A0-98FCE0E8786F}" presName="compositeSpace" presStyleCnt="0"/>
      <dgm:spPr/>
    </dgm:pt>
    <dgm:pt modelId="{AF677C7C-052A-43A5-B9B2-B23E06C9CB36}" type="pres">
      <dgm:prSet presAssocID="{188C0A74-3B33-4FDF-A017-AA01D17EB2E4}" presName="composite" presStyleCnt="0"/>
      <dgm:spPr/>
    </dgm:pt>
    <dgm:pt modelId="{96D53A2D-D523-4232-BDBA-5646B4F94F47}" type="pres">
      <dgm:prSet presAssocID="{188C0A74-3B33-4FDF-A017-AA01D17EB2E4}" presName="bgChev" presStyleLbl="node1" presStyleIdx="5" presStyleCnt="8"/>
      <dgm:spPr/>
    </dgm:pt>
    <dgm:pt modelId="{6FD955EB-261C-4444-A28D-60788F9D72E4}" type="pres">
      <dgm:prSet presAssocID="{188C0A74-3B33-4FDF-A017-AA01D17EB2E4}" presName="txNode" presStyleLbl="fgAcc1" presStyleIdx="5" presStyleCnt="8" custScaleY="193443">
        <dgm:presLayoutVars>
          <dgm:bulletEnabled val="1"/>
        </dgm:presLayoutVars>
      </dgm:prSet>
      <dgm:spPr/>
    </dgm:pt>
    <dgm:pt modelId="{0F7D08E3-83C0-41BC-8E63-AD96B93EE77C}" type="pres">
      <dgm:prSet presAssocID="{1F36AFED-CAD7-40D8-9F29-D6892BE4138F}" presName="compositeSpace" presStyleCnt="0"/>
      <dgm:spPr/>
    </dgm:pt>
    <dgm:pt modelId="{588AA4F5-6C2D-4386-8DC3-7AC5CCEAD0CB}" type="pres">
      <dgm:prSet presAssocID="{F9A57252-EC7F-4482-8EC2-088CCFBA3CEA}" presName="composite" presStyleCnt="0"/>
      <dgm:spPr/>
    </dgm:pt>
    <dgm:pt modelId="{BD88C3A4-ED11-4E7F-B056-5CFCC0CE15A0}" type="pres">
      <dgm:prSet presAssocID="{F9A57252-EC7F-4482-8EC2-088CCFBA3CEA}" presName="bgChev" presStyleLbl="node1" presStyleIdx="6" presStyleCnt="8"/>
      <dgm:spPr/>
    </dgm:pt>
    <dgm:pt modelId="{CACBDD5B-F8C7-4746-AC08-296E436F242C}" type="pres">
      <dgm:prSet presAssocID="{F9A57252-EC7F-4482-8EC2-088CCFBA3CEA}" presName="txNode" presStyleLbl="fgAcc1" presStyleIdx="6" presStyleCnt="8" custScaleX="130136" custScaleY="169612">
        <dgm:presLayoutVars>
          <dgm:bulletEnabled val="1"/>
        </dgm:presLayoutVars>
      </dgm:prSet>
      <dgm:spPr/>
    </dgm:pt>
    <dgm:pt modelId="{028578FF-1CB2-4FE2-A17C-EE7016D8CDDA}" type="pres">
      <dgm:prSet presAssocID="{B2693063-B40D-4373-8791-BA0E1F91448D}" presName="compositeSpace" presStyleCnt="0"/>
      <dgm:spPr/>
    </dgm:pt>
    <dgm:pt modelId="{321A5A59-203E-46EE-9DB7-2B43E7D95B53}" type="pres">
      <dgm:prSet presAssocID="{EA9131AF-C8E5-483C-B776-CA0E34D6A029}" presName="composite" presStyleCnt="0"/>
      <dgm:spPr/>
    </dgm:pt>
    <dgm:pt modelId="{E26665FB-90D4-4933-82DA-B9310D57546E}" type="pres">
      <dgm:prSet presAssocID="{EA9131AF-C8E5-483C-B776-CA0E34D6A029}" presName="bgChev" presStyleLbl="node1" presStyleIdx="7" presStyleCnt="8"/>
      <dgm:spPr/>
    </dgm:pt>
    <dgm:pt modelId="{D50AC8DE-DFD7-458E-820B-E3CD2B6AC4CF}" type="pres">
      <dgm:prSet presAssocID="{EA9131AF-C8E5-483C-B776-CA0E34D6A029}" presName="txNode" presStyleLbl="fgAcc1" presStyleIdx="7" presStyleCnt="8" custScaleX="125715" custScaleY="358416">
        <dgm:presLayoutVars>
          <dgm:bulletEnabled val="1"/>
        </dgm:presLayoutVars>
      </dgm:prSet>
      <dgm:spPr/>
    </dgm:pt>
  </dgm:ptLst>
  <dgm:cxnLst>
    <dgm:cxn modelId="{B0CE732E-ACF5-47D0-ABBE-E6B6EDCA90CF}" srcId="{E7E1F7A2-EE79-4380-A344-7B88689D4F0B}" destId="{1284DE80-7032-4877-8848-55359E960C47}" srcOrd="2" destOrd="0" parTransId="{9B223300-EC28-4D41-96B6-C3D6ECA1BF63}" sibTransId="{D1C7DA76-DDB4-49D5-B879-1120486703CB}"/>
    <dgm:cxn modelId="{4780CE35-2E08-45C9-8465-F789FF15DB68}" srcId="{E7E1F7A2-EE79-4380-A344-7B88689D4F0B}" destId="{2702726F-F0F4-4C58-BF75-B69F337B665A}" srcOrd="4" destOrd="0" parTransId="{43A7C082-7BEE-4B17-BB66-9EBE557D2AB0}" sibTransId="{D11BEF58-E3C5-4878-95A0-98FCE0E8786F}"/>
    <dgm:cxn modelId="{E6A4B338-06BE-419B-A666-8EC10D4BE47F}" type="presOf" srcId="{1284DE80-7032-4877-8848-55359E960C47}" destId="{0AB9CB16-1F72-48D6-8B5B-409A1F89DCE6}" srcOrd="0" destOrd="0" presId="urn:microsoft.com/office/officeart/2005/8/layout/chevronAccent+Icon"/>
    <dgm:cxn modelId="{D80FA54E-BD7F-4CC4-B0F8-711D1A2D6D0D}" srcId="{E7E1F7A2-EE79-4380-A344-7B88689D4F0B}" destId="{1B2AB1CA-1DE7-4FB5-B94C-D537DCC401C9}" srcOrd="0" destOrd="0" parTransId="{4281DB94-757A-49D8-AF3E-B307599939DE}" sibTransId="{114A162A-75DF-44D0-9192-2CF6CACEA0DE}"/>
    <dgm:cxn modelId="{15CB294F-DF99-4A5F-9AFB-D6FFC8794ECE}" type="presOf" srcId="{EA9131AF-C8E5-483C-B776-CA0E34D6A029}" destId="{D50AC8DE-DFD7-458E-820B-E3CD2B6AC4CF}" srcOrd="0" destOrd="0" presId="urn:microsoft.com/office/officeart/2005/8/layout/chevronAccent+Icon"/>
    <dgm:cxn modelId="{358E9D71-6893-4CE3-A0CE-B6E02AD343FB}" type="presOf" srcId="{F9A57252-EC7F-4482-8EC2-088CCFBA3CEA}" destId="{CACBDD5B-F8C7-4746-AC08-296E436F242C}" srcOrd="0" destOrd="0" presId="urn:microsoft.com/office/officeart/2005/8/layout/chevronAccent+Icon"/>
    <dgm:cxn modelId="{AA85948A-2B08-4D2B-A049-E12ED1EFAD39}" type="presOf" srcId="{188C0A74-3B33-4FDF-A017-AA01D17EB2E4}" destId="{6FD955EB-261C-4444-A28D-60788F9D72E4}" srcOrd="0" destOrd="0" presId="urn:microsoft.com/office/officeart/2005/8/layout/chevronAccent+Icon"/>
    <dgm:cxn modelId="{5FF26F97-3B87-41D3-B8F5-D38866EA1BEB}" srcId="{E7E1F7A2-EE79-4380-A344-7B88689D4F0B}" destId="{188C0A74-3B33-4FDF-A017-AA01D17EB2E4}" srcOrd="5" destOrd="0" parTransId="{E3B0AB80-0A97-4B56-90ED-DF2888F3AA5C}" sibTransId="{1F36AFED-CAD7-40D8-9F29-D6892BE4138F}"/>
    <dgm:cxn modelId="{C2D07098-52E1-433F-979B-8E665E556F62}" srcId="{E7E1F7A2-EE79-4380-A344-7B88689D4F0B}" destId="{607330A3-BD0E-43A8-AF88-61AF616859DA}" srcOrd="3" destOrd="0" parTransId="{7F237FCD-2B1D-408F-AAE4-7B3538967846}" sibTransId="{83278760-3D1F-4031-A105-000F6EDBDE3A}"/>
    <dgm:cxn modelId="{948A37A2-DAA5-4E72-A997-FE5287D6EFDC}" srcId="{E7E1F7A2-EE79-4380-A344-7B88689D4F0B}" destId="{ECEADD8A-C3A9-44EF-A183-C08D0F36F954}" srcOrd="1" destOrd="0" parTransId="{7D28BA08-4574-461D-A4A6-D2E87C7D503E}" sibTransId="{F3C76EA9-F97A-4F63-B9C7-4E5E667D6C25}"/>
    <dgm:cxn modelId="{BE06F4A2-0A90-46B4-BCBE-1EA0FAEA5C44}" type="presOf" srcId="{ECEADD8A-C3A9-44EF-A183-C08D0F36F954}" destId="{8BEF6587-74CD-4FFB-A6A6-B3B3A2676EBA}" srcOrd="0" destOrd="0" presId="urn:microsoft.com/office/officeart/2005/8/layout/chevronAccent+Icon"/>
    <dgm:cxn modelId="{2997FDB1-1FC7-4137-8AFB-64EE8A17A258}" type="presOf" srcId="{607330A3-BD0E-43A8-AF88-61AF616859DA}" destId="{7AF85A95-AA7C-4676-BE0F-7811C5BB6FA4}" srcOrd="0" destOrd="0" presId="urn:microsoft.com/office/officeart/2005/8/layout/chevronAccent+Icon"/>
    <dgm:cxn modelId="{9AEEABB4-8C9F-420D-A259-EA7D28D20FEA}" type="presOf" srcId="{E7E1F7A2-EE79-4380-A344-7B88689D4F0B}" destId="{CACA42A9-91CA-4E73-97BC-05AEF4C92DCA}" srcOrd="0" destOrd="0" presId="urn:microsoft.com/office/officeart/2005/8/layout/chevronAccent+Icon"/>
    <dgm:cxn modelId="{DA253DC1-D8BE-4390-B9BA-E8792ECB8CF5}" srcId="{E7E1F7A2-EE79-4380-A344-7B88689D4F0B}" destId="{F9A57252-EC7F-4482-8EC2-088CCFBA3CEA}" srcOrd="6" destOrd="0" parTransId="{84EA996B-A61B-4A0C-B17F-D3FF19AC8241}" sibTransId="{B2693063-B40D-4373-8791-BA0E1F91448D}"/>
    <dgm:cxn modelId="{87001CD7-D350-420E-9AAB-B21E0031A8D5}" type="presOf" srcId="{1B2AB1CA-1DE7-4FB5-B94C-D537DCC401C9}" destId="{F72F0F02-714A-45D1-9C94-3F35FC09C3A4}" srcOrd="0" destOrd="0" presId="urn:microsoft.com/office/officeart/2005/8/layout/chevronAccent+Icon"/>
    <dgm:cxn modelId="{A9C4F6EA-5B67-4095-ADAF-E80A739EF3CA}" type="presOf" srcId="{2702726F-F0F4-4C58-BF75-B69F337B665A}" destId="{A6A44044-48F9-4B6C-9217-CE9007047B49}" srcOrd="0" destOrd="0" presId="urn:microsoft.com/office/officeart/2005/8/layout/chevronAccent+Icon"/>
    <dgm:cxn modelId="{168FA6FA-8BAD-4EDB-909A-3367D57B1499}" srcId="{E7E1F7A2-EE79-4380-A344-7B88689D4F0B}" destId="{EA9131AF-C8E5-483C-B776-CA0E34D6A029}" srcOrd="7" destOrd="0" parTransId="{82F31CF4-3C15-4244-B602-A1334915D13D}" sibTransId="{F933EF16-54D1-4B59-B81B-3FE209913D83}"/>
    <dgm:cxn modelId="{37142547-0938-475C-B5CE-DBAEEAE04B69}" type="presParOf" srcId="{CACA42A9-91CA-4E73-97BC-05AEF4C92DCA}" destId="{CD895A5B-E953-4324-818B-E5481C34C8FE}" srcOrd="0" destOrd="0" presId="urn:microsoft.com/office/officeart/2005/8/layout/chevronAccent+Icon"/>
    <dgm:cxn modelId="{A3019FF5-2F7A-4C77-8E93-F062ACBF5FCB}" type="presParOf" srcId="{CD895A5B-E953-4324-818B-E5481C34C8FE}" destId="{E1EEC486-6021-4810-881A-2D338E6A5D0D}" srcOrd="0" destOrd="0" presId="urn:microsoft.com/office/officeart/2005/8/layout/chevronAccent+Icon"/>
    <dgm:cxn modelId="{FBE35255-F914-418B-8515-C3CC636A1A3C}" type="presParOf" srcId="{CD895A5B-E953-4324-818B-E5481C34C8FE}" destId="{F72F0F02-714A-45D1-9C94-3F35FC09C3A4}" srcOrd="1" destOrd="0" presId="urn:microsoft.com/office/officeart/2005/8/layout/chevronAccent+Icon"/>
    <dgm:cxn modelId="{F975ADB3-4E44-4BA4-B745-C84965C299DA}" type="presParOf" srcId="{CACA42A9-91CA-4E73-97BC-05AEF4C92DCA}" destId="{C9782F3B-9DAE-43B6-A917-060EAB180867}" srcOrd="1" destOrd="0" presId="urn:microsoft.com/office/officeart/2005/8/layout/chevronAccent+Icon"/>
    <dgm:cxn modelId="{EFBCB7C4-DB1C-411B-A04E-A614B28CA92A}" type="presParOf" srcId="{CACA42A9-91CA-4E73-97BC-05AEF4C92DCA}" destId="{A63937D1-33E6-489C-950B-6AF0AACDD539}" srcOrd="2" destOrd="0" presId="urn:microsoft.com/office/officeart/2005/8/layout/chevronAccent+Icon"/>
    <dgm:cxn modelId="{41099381-8E8C-46D6-B5F8-B22161BFC663}" type="presParOf" srcId="{A63937D1-33E6-489C-950B-6AF0AACDD539}" destId="{010DE834-D409-40F0-A019-705957928122}" srcOrd="0" destOrd="0" presId="urn:microsoft.com/office/officeart/2005/8/layout/chevronAccent+Icon"/>
    <dgm:cxn modelId="{137F2E39-8E86-4158-A133-1A88B1EF5FFA}" type="presParOf" srcId="{A63937D1-33E6-489C-950B-6AF0AACDD539}" destId="{8BEF6587-74CD-4FFB-A6A6-B3B3A2676EBA}" srcOrd="1" destOrd="0" presId="urn:microsoft.com/office/officeart/2005/8/layout/chevronAccent+Icon"/>
    <dgm:cxn modelId="{839A3F45-0473-4E71-BD78-A6B691B3E0C4}" type="presParOf" srcId="{CACA42A9-91CA-4E73-97BC-05AEF4C92DCA}" destId="{10080E38-32FD-46A8-8008-251E863690B4}" srcOrd="3" destOrd="0" presId="urn:microsoft.com/office/officeart/2005/8/layout/chevronAccent+Icon"/>
    <dgm:cxn modelId="{6EA48CBE-8181-4DE3-A2CC-95DFFE1E3669}" type="presParOf" srcId="{CACA42A9-91CA-4E73-97BC-05AEF4C92DCA}" destId="{D661F61E-21A8-409F-A54C-D207E5993A97}" srcOrd="4" destOrd="0" presId="urn:microsoft.com/office/officeart/2005/8/layout/chevronAccent+Icon"/>
    <dgm:cxn modelId="{E45FF4AD-517C-42E0-856A-E9C0B3DCF954}" type="presParOf" srcId="{D661F61E-21A8-409F-A54C-D207E5993A97}" destId="{F7AE8131-64BE-4F33-801F-2507D7A7C479}" srcOrd="0" destOrd="0" presId="urn:microsoft.com/office/officeart/2005/8/layout/chevronAccent+Icon"/>
    <dgm:cxn modelId="{F0BC0424-8638-495B-BAEB-1C5DAF931132}" type="presParOf" srcId="{D661F61E-21A8-409F-A54C-D207E5993A97}" destId="{0AB9CB16-1F72-48D6-8B5B-409A1F89DCE6}" srcOrd="1" destOrd="0" presId="urn:microsoft.com/office/officeart/2005/8/layout/chevronAccent+Icon"/>
    <dgm:cxn modelId="{12E5F155-8629-418C-809A-F755ED715D4D}" type="presParOf" srcId="{CACA42A9-91CA-4E73-97BC-05AEF4C92DCA}" destId="{AFBC51BF-E2D3-4136-800F-03911F631525}" srcOrd="5" destOrd="0" presId="urn:microsoft.com/office/officeart/2005/8/layout/chevronAccent+Icon"/>
    <dgm:cxn modelId="{D229B529-FABF-4A85-BFAD-C97F8C84A61D}" type="presParOf" srcId="{CACA42A9-91CA-4E73-97BC-05AEF4C92DCA}" destId="{ECEA41C0-9EA4-4E38-8295-B2BA4B94993E}" srcOrd="6" destOrd="0" presId="urn:microsoft.com/office/officeart/2005/8/layout/chevronAccent+Icon"/>
    <dgm:cxn modelId="{A41DA9C1-C8A9-485E-A4A9-16CE4FEB0E71}" type="presParOf" srcId="{ECEA41C0-9EA4-4E38-8295-B2BA4B94993E}" destId="{E0B90D9D-0202-4B52-8B97-E0AB0A6B773C}" srcOrd="0" destOrd="0" presId="urn:microsoft.com/office/officeart/2005/8/layout/chevronAccent+Icon"/>
    <dgm:cxn modelId="{14DBB5A7-47E8-4C7F-AF4A-E2AF620C413E}" type="presParOf" srcId="{ECEA41C0-9EA4-4E38-8295-B2BA4B94993E}" destId="{7AF85A95-AA7C-4676-BE0F-7811C5BB6FA4}" srcOrd="1" destOrd="0" presId="urn:microsoft.com/office/officeart/2005/8/layout/chevronAccent+Icon"/>
    <dgm:cxn modelId="{7AA3ADF1-DE45-4843-9696-CE4C65F254EA}" type="presParOf" srcId="{CACA42A9-91CA-4E73-97BC-05AEF4C92DCA}" destId="{C20FC6F9-AC38-4593-9252-44B81616CB19}" srcOrd="7" destOrd="0" presId="urn:microsoft.com/office/officeart/2005/8/layout/chevronAccent+Icon"/>
    <dgm:cxn modelId="{E4804C28-DFB6-4D0F-95A2-0C5AB373C9C8}" type="presParOf" srcId="{CACA42A9-91CA-4E73-97BC-05AEF4C92DCA}" destId="{FAC9163B-C936-4016-AAAB-83D55C67FAF0}" srcOrd="8" destOrd="0" presId="urn:microsoft.com/office/officeart/2005/8/layout/chevronAccent+Icon"/>
    <dgm:cxn modelId="{E8327278-AF3B-4C62-8B00-A0B0EBF61738}" type="presParOf" srcId="{FAC9163B-C936-4016-AAAB-83D55C67FAF0}" destId="{B812DCD2-DD5A-4008-B3CC-468CAFB16DD6}" srcOrd="0" destOrd="0" presId="urn:microsoft.com/office/officeart/2005/8/layout/chevronAccent+Icon"/>
    <dgm:cxn modelId="{094E86C7-6F31-4330-B539-A189EECB2AF5}" type="presParOf" srcId="{FAC9163B-C936-4016-AAAB-83D55C67FAF0}" destId="{A6A44044-48F9-4B6C-9217-CE9007047B49}" srcOrd="1" destOrd="0" presId="urn:microsoft.com/office/officeart/2005/8/layout/chevronAccent+Icon"/>
    <dgm:cxn modelId="{635A79A2-D1CF-4787-B893-D3E229BFEA59}" type="presParOf" srcId="{CACA42A9-91CA-4E73-97BC-05AEF4C92DCA}" destId="{92DA6FCC-4955-4F62-83D8-95EFE1E1588D}" srcOrd="9" destOrd="0" presId="urn:microsoft.com/office/officeart/2005/8/layout/chevronAccent+Icon"/>
    <dgm:cxn modelId="{B51B5419-420D-4626-A54F-199BE11E0697}" type="presParOf" srcId="{CACA42A9-91CA-4E73-97BC-05AEF4C92DCA}" destId="{AF677C7C-052A-43A5-B9B2-B23E06C9CB36}" srcOrd="10" destOrd="0" presId="urn:microsoft.com/office/officeart/2005/8/layout/chevronAccent+Icon"/>
    <dgm:cxn modelId="{527BA95C-0444-446F-8193-60E5C7C9DEFC}" type="presParOf" srcId="{AF677C7C-052A-43A5-B9B2-B23E06C9CB36}" destId="{96D53A2D-D523-4232-BDBA-5646B4F94F47}" srcOrd="0" destOrd="0" presId="urn:microsoft.com/office/officeart/2005/8/layout/chevronAccent+Icon"/>
    <dgm:cxn modelId="{BAC853CE-1268-442E-9B0F-1EC4A3BB689F}" type="presParOf" srcId="{AF677C7C-052A-43A5-B9B2-B23E06C9CB36}" destId="{6FD955EB-261C-4444-A28D-60788F9D72E4}" srcOrd="1" destOrd="0" presId="urn:microsoft.com/office/officeart/2005/8/layout/chevronAccent+Icon"/>
    <dgm:cxn modelId="{FEC620B3-6780-468E-AA6E-3155A5F5D99E}" type="presParOf" srcId="{CACA42A9-91CA-4E73-97BC-05AEF4C92DCA}" destId="{0F7D08E3-83C0-41BC-8E63-AD96B93EE77C}" srcOrd="11" destOrd="0" presId="urn:microsoft.com/office/officeart/2005/8/layout/chevronAccent+Icon"/>
    <dgm:cxn modelId="{DC019520-57E1-44AF-9357-CCB552B18837}" type="presParOf" srcId="{CACA42A9-91CA-4E73-97BC-05AEF4C92DCA}" destId="{588AA4F5-6C2D-4386-8DC3-7AC5CCEAD0CB}" srcOrd="12" destOrd="0" presId="urn:microsoft.com/office/officeart/2005/8/layout/chevronAccent+Icon"/>
    <dgm:cxn modelId="{5C6EF26A-73F8-4814-A56C-5C978F399355}" type="presParOf" srcId="{588AA4F5-6C2D-4386-8DC3-7AC5CCEAD0CB}" destId="{BD88C3A4-ED11-4E7F-B056-5CFCC0CE15A0}" srcOrd="0" destOrd="0" presId="urn:microsoft.com/office/officeart/2005/8/layout/chevronAccent+Icon"/>
    <dgm:cxn modelId="{658B78CF-76F2-40A4-8AB9-7427ACCF58EB}" type="presParOf" srcId="{588AA4F5-6C2D-4386-8DC3-7AC5CCEAD0CB}" destId="{CACBDD5B-F8C7-4746-AC08-296E436F242C}" srcOrd="1" destOrd="0" presId="urn:microsoft.com/office/officeart/2005/8/layout/chevronAccent+Icon"/>
    <dgm:cxn modelId="{DDEA9951-00CE-458A-9C9D-5714346274DD}" type="presParOf" srcId="{CACA42A9-91CA-4E73-97BC-05AEF4C92DCA}" destId="{028578FF-1CB2-4FE2-A17C-EE7016D8CDDA}" srcOrd="13" destOrd="0" presId="urn:microsoft.com/office/officeart/2005/8/layout/chevronAccent+Icon"/>
    <dgm:cxn modelId="{5A565B1A-3679-4728-923E-42878C24A256}" type="presParOf" srcId="{CACA42A9-91CA-4E73-97BC-05AEF4C92DCA}" destId="{321A5A59-203E-46EE-9DB7-2B43E7D95B53}" srcOrd="14" destOrd="0" presId="urn:microsoft.com/office/officeart/2005/8/layout/chevronAccent+Icon"/>
    <dgm:cxn modelId="{9C8B62BA-AC67-4982-9CA5-C423A4F4C66F}" type="presParOf" srcId="{321A5A59-203E-46EE-9DB7-2B43E7D95B53}" destId="{E26665FB-90D4-4933-82DA-B9310D57546E}" srcOrd="0" destOrd="0" presId="urn:microsoft.com/office/officeart/2005/8/layout/chevronAccent+Icon"/>
    <dgm:cxn modelId="{E500A26C-CF2C-42EF-8C4C-36FEE3152BB2}" type="presParOf" srcId="{321A5A59-203E-46EE-9DB7-2B43E7D95B53}" destId="{D50AC8DE-DFD7-458E-820B-E3CD2B6AC4CF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50B782-F922-40F9-A0C3-21748E089117}">
      <dsp:nvSpPr>
        <dsp:cNvPr id="0" name=""/>
        <dsp:cNvSpPr/>
      </dsp:nvSpPr>
      <dsp:spPr>
        <a:xfrm>
          <a:off x="3140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924550-E15C-4CCB-8496-EF74EB56A808}">
      <dsp:nvSpPr>
        <dsp:cNvPr id="0" name=""/>
        <dsp:cNvSpPr/>
      </dsp:nvSpPr>
      <dsp:spPr>
        <a:xfrm>
          <a:off x="283311" y="498747"/>
          <a:ext cx="887208" cy="7845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Rozhodný den (účetní účinky)</a:t>
          </a:r>
          <a:endParaRPr lang="en-US" sz="1000" kern="1200" dirty="0"/>
        </a:p>
      </dsp:txBody>
      <dsp:txXfrm>
        <a:off x="306288" y="521724"/>
        <a:ext cx="841254" cy="738550"/>
      </dsp:txXfrm>
    </dsp:sp>
    <dsp:sp modelId="{E1EEC486-6021-4810-881A-2D338E6A5D0D}">
      <dsp:nvSpPr>
        <dsp:cNvPr id="0" name=""/>
        <dsp:cNvSpPr/>
      </dsp:nvSpPr>
      <dsp:spPr>
        <a:xfrm>
          <a:off x="1203207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2F0F02-714A-45D1-9C94-3F35FC09C3A4}">
      <dsp:nvSpPr>
        <dsp:cNvPr id="0" name=""/>
        <dsp:cNvSpPr/>
      </dsp:nvSpPr>
      <dsp:spPr>
        <a:xfrm>
          <a:off x="1483378" y="217887"/>
          <a:ext cx="887208" cy="134622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Konečná závěrka a zahajovací rozvah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nalecké ocenění</a:t>
          </a:r>
          <a:endParaRPr lang="en-US" sz="1000" kern="1200" dirty="0"/>
        </a:p>
      </dsp:txBody>
      <dsp:txXfrm>
        <a:off x="1509363" y="243872"/>
        <a:ext cx="835238" cy="1294254"/>
      </dsp:txXfrm>
    </dsp:sp>
    <dsp:sp modelId="{010DE834-D409-40F0-A019-705957928122}">
      <dsp:nvSpPr>
        <dsp:cNvPr id="0" name=""/>
        <dsp:cNvSpPr/>
      </dsp:nvSpPr>
      <dsp:spPr>
        <a:xfrm>
          <a:off x="2403274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EF6587-74CD-4FFB-A6A6-B3B3A2676EBA}">
      <dsp:nvSpPr>
        <dsp:cNvPr id="0" name=""/>
        <dsp:cNvSpPr/>
      </dsp:nvSpPr>
      <dsp:spPr>
        <a:xfrm>
          <a:off x="2683445" y="309326"/>
          <a:ext cx="887208" cy="11633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Projek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práva o přeměně / přezkoumání</a:t>
          </a:r>
          <a:endParaRPr lang="en-US" sz="1000" kern="1200" dirty="0"/>
        </a:p>
      </dsp:txBody>
      <dsp:txXfrm>
        <a:off x="2709430" y="335311"/>
        <a:ext cx="835238" cy="1111376"/>
      </dsp:txXfrm>
    </dsp:sp>
    <dsp:sp modelId="{F7AE8131-64BE-4F33-801F-2507D7A7C479}">
      <dsp:nvSpPr>
        <dsp:cNvPr id="0" name=""/>
        <dsp:cNvSpPr/>
      </dsp:nvSpPr>
      <dsp:spPr>
        <a:xfrm>
          <a:off x="3603340" y="637532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B9CB16-1F72-48D6-8B5B-409A1F89DCE6}">
      <dsp:nvSpPr>
        <dsp:cNvPr id="0" name=""/>
        <dsp:cNvSpPr/>
      </dsp:nvSpPr>
      <dsp:spPr>
        <a:xfrm>
          <a:off x="3883512" y="738919"/>
          <a:ext cx="887208" cy="40554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veřejnění</a:t>
          </a:r>
          <a:endParaRPr lang="en-US" sz="1000" kern="1200" dirty="0"/>
        </a:p>
      </dsp:txBody>
      <dsp:txXfrm>
        <a:off x="3895390" y="750797"/>
        <a:ext cx="863452" cy="381791"/>
      </dsp:txXfrm>
    </dsp:sp>
    <dsp:sp modelId="{E0B90D9D-0202-4B52-8B97-E0AB0A6B773C}">
      <dsp:nvSpPr>
        <dsp:cNvPr id="0" name=""/>
        <dsp:cNvSpPr/>
      </dsp:nvSpPr>
      <dsp:spPr>
        <a:xfrm>
          <a:off x="4803407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85A95-AA7C-4676-BE0F-7811C5BB6FA4}">
      <dsp:nvSpPr>
        <dsp:cNvPr id="0" name=""/>
        <dsp:cNvSpPr/>
      </dsp:nvSpPr>
      <dsp:spPr>
        <a:xfrm>
          <a:off x="5083579" y="547070"/>
          <a:ext cx="887208" cy="6878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Schválení valnou hromadou</a:t>
          </a:r>
          <a:endParaRPr lang="en-US" sz="1000" kern="1200" dirty="0"/>
        </a:p>
      </dsp:txBody>
      <dsp:txXfrm>
        <a:off x="5103726" y="567217"/>
        <a:ext cx="846914" cy="647563"/>
      </dsp:txXfrm>
    </dsp:sp>
    <dsp:sp modelId="{96D53A2D-D523-4232-BDBA-5646B4F94F47}">
      <dsp:nvSpPr>
        <dsp:cNvPr id="0" name=""/>
        <dsp:cNvSpPr/>
      </dsp:nvSpPr>
      <dsp:spPr>
        <a:xfrm>
          <a:off x="6003474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D955EB-261C-4444-A28D-60788F9D72E4}">
      <dsp:nvSpPr>
        <dsp:cNvPr id="0" name=""/>
        <dsp:cNvSpPr/>
      </dsp:nvSpPr>
      <dsp:spPr>
        <a:xfrm>
          <a:off x="6283645" y="498747"/>
          <a:ext cx="887208" cy="78450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ápis do OR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(právní účinky)</a:t>
          </a:r>
          <a:endParaRPr lang="en-US" sz="1000" kern="1200" dirty="0"/>
        </a:p>
      </dsp:txBody>
      <dsp:txXfrm>
        <a:off x="6306622" y="521724"/>
        <a:ext cx="841254" cy="738550"/>
      </dsp:txXfrm>
    </dsp:sp>
    <dsp:sp modelId="{BD88C3A4-ED11-4E7F-B056-5CFCC0CE15A0}">
      <dsp:nvSpPr>
        <dsp:cNvPr id="0" name=""/>
        <dsp:cNvSpPr/>
      </dsp:nvSpPr>
      <dsp:spPr>
        <a:xfrm>
          <a:off x="7203541" y="586838"/>
          <a:ext cx="1050642" cy="405547"/>
        </a:xfrm>
        <a:prstGeom prst="chevron">
          <a:avLst>
            <a:gd name="adj" fmla="val 4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CBDD5B-F8C7-4746-AC08-296E436F242C}">
      <dsp:nvSpPr>
        <dsp:cNvPr id="0" name=""/>
        <dsp:cNvSpPr/>
      </dsp:nvSpPr>
      <dsp:spPr>
        <a:xfrm>
          <a:off x="7483712" y="547070"/>
          <a:ext cx="887208" cy="68785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Následné registrační kroky</a:t>
          </a:r>
          <a:endParaRPr lang="en-US" sz="1000" kern="1200" dirty="0"/>
        </a:p>
      </dsp:txBody>
      <dsp:txXfrm>
        <a:off x="7503859" y="567217"/>
        <a:ext cx="846914" cy="6475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EEC486-6021-4810-881A-2D338E6A5D0D}">
      <dsp:nvSpPr>
        <dsp:cNvPr id="0" name=""/>
        <dsp:cNvSpPr/>
      </dsp:nvSpPr>
      <dsp:spPr>
        <a:xfrm>
          <a:off x="1727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2F0F02-714A-45D1-9C94-3F35FC09C3A4}">
      <dsp:nvSpPr>
        <dsp:cNvPr id="0" name=""/>
        <dsp:cNvSpPr/>
      </dsp:nvSpPr>
      <dsp:spPr>
        <a:xfrm>
          <a:off x="148754" y="638983"/>
          <a:ext cx="896183" cy="50403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nalecké ocenění</a:t>
          </a:r>
          <a:endParaRPr lang="en-US" sz="1000" kern="1200" dirty="0"/>
        </a:p>
      </dsp:txBody>
      <dsp:txXfrm>
        <a:off x="163517" y="653746"/>
        <a:ext cx="866657" cy="474506"/>
      </dsp:txXfrm>
    </dsp:sp>
    <dsp:sp modelId="{010DE834-D409-40F0-A019-705957928122}">
      <dsp:nvSpPr>
        <dsp:cNvPr id="0" name=""/>
        <dsp:cNvSpPr/>
      </dsp:nvSpPr>
      <dsp:spPr>
        <a:xfrm>
          <a:off x="1071814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BEF6587-74CD-4FFB-A6A6-B3B3A2676EBA}">
      <dsp:nvSpPr>
        <dsp:cNvPr id="0" name=""/>
        <dsp:cNvSpPr/>
      </dsp:nvSpPr>
      <dsp:spPr>
        <a:xfrm>
          <a:off x="1223396" y="345813"/>
          <a:ext cx="887072" cy="109037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Projek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práva o přeměně / přezkoumání</a:t>
          </a:r>
          <a:endParaRPr lang="en-US" sz="1000" kern="1200" dirty="0"/>
        </a:p>
      </dsp:txBody>
      <dsp:txXfrm>
        <a:off x="1249377" y="371794"/>
        <a:ext cx="835110" cy="1038410"/>
      </dsp:txXfrm>
    </dsp:sp>
    <dsp:sp modelId="{F7AE8131-64BE-4F33-801F-2507D7A7C479}">
      <dsp:nvSpPr>
        <dsp:cNvPr id="0" name=""/>
        <dsp:cNvSpPr/>
      </dsp:nvSpPr>
      <dsp:spPr>
        <a:xfrm>
          <a:off x="2137345" y="682588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B9CB16-1F72-48D6-8B5B-409A1F89DCE6}">
      <dsp:nvSpPr>
        <dsp:cNvPr id="0" name=""/>
        <dsp:cNvSpPr/>
      </dsp:nvSpPr>
      <dsp:spPr>
        <a:xfrm>
          <a:off x="2367713" y="765952"/>
          <a:ext cx="729500" cy="33345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veřejnění</a:t>
          </a:r>
          <a:endParaRPr lang="en-US" sz="1000" kern="1200" dirty="0"/>
        </a:p>
      </dsp:txBody>
      <dsp:txXfrm>
        <a:off x="2377480" y="775719"/>
        <a:ext cx="709966" cy="313924"/>
      </dsp:txXfrm>
    </dsp:sp>
    <dsp:sp modelId="{E0B90D9D-0202-4B52-8B97-E0AB0A6B773C}">
      <dsp:nvSpPr>
        <dsp:cNvPr id="0" name=""/>
        <dsp:cNvSpPr/>
      </dsp:nvSpPr>
      <dsp:spPr>
        <a:xfrm>
          <a:off x="3124090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F85A95-AA7C-4676-BE0F-7811C5BB6FA4}">
      <dsp:nvSpPr>
        <dsp:cNvPr id="0" name=""/>
        <dsp:cNvSpPr/>
      </dsp:nvSpPr>
      <dsp:spPr>
        <a:xfrm>
          <a:off x="3272634" y="608206"/>
          <a:ext cx="893148" cy="565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Schválení valnou hromadou</a:t>
          </a:r>
          <a:endParaRPr lang="en-US" sz="1000" kern="1200" dirty="0"/>
        </a:p>
      </dsp:txBody>
      <dsp:txXfrm>
        <a:off x="3289199" y="624771"/>
        <a:ext cx="860018" cy="532455"/>
      </dsp:txXfrm>
    </dsp:sp>
    <dsp:sp modelId="{B812DCD2-DD5A-4008-B3CC-468CAFB16DD6}">
      <dsp:nvSpPr>
        <dsp:cNvPr id="0" name=""/>
        <dsp:cNvSpPr/>
      </dsp:nvSpPr>
      <dsp:spPr>
        <a:xfrm>
          <a:off x="4192659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A44044-48F9-4B6C-9217-CE9007047B49}">
      <dsp:nvSpPr>
        <dsp:cNvPr id="0" name=""/>
        <dsp:cNvSpPr/>
      </dsp:nvSpPr>
      <dsp:spPr>
        <a:xfrm>
          <a:off x="4367174" y="410335"/>
          <a:ext cx="841208" cy="96132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Rozhodný den (účetní účinky)</a:t>
          </a:r>
          <a:endParaRPr lang="en-US" sz="1000" kern="1200" dirty="0"/>
        </a:p>
      </dsp:txBody>
      <dsp:txXfrm>
        <a:off x="4391812" y="434973"/>
        <a:ext cx="791932" cy="912051"/>
      </dsp:txXfrm>
    </dsp:sp>
    <dsp:sp modelId="{96D53A2D-D523-4232-BDBA-5646B4F94F47}">
      <dsp:nvSpPr>
        <dsp:cNvPr id="0" name=""/>
        <dsp:cNvSpPr/>
      </dsp:nvSpPr>
      <dsp:spPr>
        <a:xfrm>
          <a:off x="5235259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D955EB-261C-4444-A28D-60788F9D72E4}">
      <dsp:nvSpPr>
        <dsp:cNvPr id="0" name=""/>
        <dsp:cNvSpPr/>
      </dsp:nvSpPr>
      <dsp:spPr>
        <a:xfrm>
          <a:off x="5465627" y="568473"/>
          <a:ext cx="729500" cy="64505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Zápis do OR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(právní účinky)</a:t>
          </a:r>
          <a:endParaRPr lang="en-US" sz="1000" kern="1200" dirty="0"/>
        </a:p>
      </dsp:txBody>
      <dsp:txXfrm>
        <a:off x="5484520" y="587366"/>
        <a:ext cx="691714" cy="607265"/>
      </dsp:txXfrm>
    </dsp:sp>
    <dsp:sp modelId="{BD88C3A4-ED11-4E7F-B056-5CFCC0CE15A0}">
      <dsp:nvSpPr>
        <dsp:cNvPr id="0" name=""/>
        <dsp:cNvSpPr/>
      </dsp:nvSpPr>
      <dsp:spPr>
        <a:xfrm>
          <a:off x="6222004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ACBDD5B-F8C7-4746-AC08-296E436F242C}">
      <dsp:nvSpPr>
        <dsp:cNvPr id="0" name=""/>
        <dsp:cNvSpPr/>
      </dsp:nvSpPr>
      <dsp:spPr>
        <a:xfrm>
          <a:off x="6342451" y="608206"/>
          <a:ext cx="949342" cy="565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Následné registrační kroky</a:t>
          </a:r>
          <a:endParaRPr lang="en-US" sz="1000" kern="1200" dirty="0"/>
        </a:p>
      </dsp:txBody>
      <dsp:txXfrm>
        <a:off x="6359016" y="624771"/>
        <a:ext cx="916212" cy="532455"/>
      </dsp:txXfrm>
    </dsp:sp>
    <dsp:sp modelId="{E26665FB-90D4-4933-82DA-B9310D57546E}">
      <dsp:nvSpPr>
        <dsp:cNvPr id="0" name=""/>
        <dsp:cNvSpPr/>
      </dsp:nvSpPr>
      <dsp:spPr>
        <a:xfrm>
          <a:off x="7318670" y="640905"/>
          <a:ext cx="863881" cy="333458"/>
        </a:xfrm>
        <a:prstGeom prst="chevron">
          <a:avLst>
            <a:gd name="adj" fmla="val 4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50AC8DE-DFD7-458E-820B-E3CD2B6AC4CF}">
      <dsp:nvSpPr>
        <dsp:cNvPr id="0" name=""/>
        <dsp:cNvSpPr/>
      </dsp:nvSpPr>
      <dsp:spPr>
        <a:xfrm>
          <a:off x="7455243" y="293415"/>
          <a:ext cx="917091" cy="119516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kern="1200" dirty="0"/>
            <a:t>Konečná závěrka a zahajovací rozvaha</a:t>
          </a:r>
          <a:endParaRPr lang="en-US" sz="1000" kern="1200" dirty="0"/>
        </a:p>
      </dsp:txBody>
      <dsp:txXfrm>
        <a:off x="7482104" y="320276"/>
        <a:ext cx="863369" cy="11414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Chevron Accent Process"/>
  <dgm:desc val="Use to show sequential steps in a task, process, or workflow, or to emphasize movement or direction. Works best with minimal Level 1 and Level 2 text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6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198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4323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 Pro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víc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informací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kontaktujt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Deloitte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Česká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republika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65" r:id="rId2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</a:t>
            </a:r>
            <a:r>
              <a:rPr lang="cs-CZ" sz="2800"/>
              <a:t>akvizice (5)</a:t>
            </a:r>
            <a:endParaRPr lang="cs-CZ" sz="2800" dirty="0"/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58775" y="6381750"/>
            <a:ext cx="4195762" cy="298450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sloučení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2.) na více již existujících společností nebo družstev (dále jen „rozštěpení sloučením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3</a:t>
            </a:r>
          </a:p>
        </p:txBody>
      </p:sp>
    </p:spTree>
    <p:extLst>
      <p:ext uri="{BB962C8B-B14F-4D97-AF65-F5344CB8AC3E}">
        <p14:creationId xmlns:p14="http://schemas.microsoft.com/office/powerpoint/2010/main" val="42928668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kombinované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3.) kombinací rozštěpení se vznikem nových společností nebo družstev a rozštěpení sloučením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</p:spTree>
    <p:extLst>
      <p:ext uri="{BB962C8B-B14F-4D97-AF65-F5344CB8AC3E}">
        <p14:creationId xmlns:p14="http://schemas.microsoft.com/office/powerpoint/2010/main" val="85428667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Rozdělen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Odštěpení</a:t>
            </a:r>
          </a:p>
        </p:txBody>
      </p:sp>
    </p:spTree>
    <p:extLst>
      <p:ext uri="{BB962C8B-B14F-4D97-AF65-F5344CB8AC3E}">
        <p14:creationId xmlns:p14="http://schemas.microsoft.com/office/powerpoint/2010/main" val="320936149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se vznikem nových společnos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1.) na více nově vznikajících společností nebo družstev (dále jen „rozštěpení se vznikem nových společností nebo družstev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</p:spTree>
    <p:extLst>
      <p:ext uri="{BB962C8B-B14F-4D97-AF65-F5344CB8AC3E}">
        <p14:creationId xmlns:p14="http://schemas.microsoft.com/office/powerpoint/2010/main" val="13924357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sloučení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2.) na více již existujících společností nebo družstev (dále jen „rozštěpení sloučením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3</a:t>
            </a:r>
          </a:p>
        </p:txBody>
      </p:sp>
    </p:spTree>
    <p:extLst>
      <p:ext uri="{BB962C8B-B14F-4D97-AF65-F5344CB8AC3E}">
        <p14:creationId xmlns:p14="http://schemas.microsoft.com/office/powerpoint/2010/main" val="251173482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5" grpId="2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dštěpení kombinované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b) odštěpení, v jehož důsledku rozdělovaná společnost nebo družstvo nezaniká a část jejího jmění přechází (3.) kombinací rozštěpení se vznikem nových společností nebo družstev a rozštěpení sloučením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1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2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</p:spTree>
    <p:extLst>
      <p:ext uri="{BB962C8B-B14F-4D97-AF65-F5344CB8AC3E}">
        <p14:creationId xmlns:p14="http://schemas.microsoft.com/office/powerpoint/2010/main" val="33810099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Kroky a milníky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fúze / rozdělení</a:t>
            </a:r>
          </a:p>
        </p:txBody>
      </p:sp>
    </p:spTree>
    <p:extLst>
      <p:ext uri="{BB962C8B-B14F-4D97-AF65-F5344CB8AC3E}">
        <p14:creationId xmlns:p14="http://schemas.microsoft.com/office/powerpoint/2010/main" val="993631532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úze / rozděl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graphicFrame>
        <p:nvGraphicFramePr>
          <p:cNvPr id="17" name="Content Placeholder 16"/>
          <p:cNvGraphicFramePr>
            <a:graphicFrameLocks noGrp="1"/>
          </p:cNvGraphicFramePr>
          <p:nvPr>
            <p:ph idx="1"/>
          </p:nvPr>
        </p:nvGraphicFramePr>
        <p:xfrm>
          <a:off x="376238" y="1665288"/>
          <a:ext cx="8374062" cy="1781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8" name="Content Placeholder 16"/>
          <p:cNvGraphicFramePr>
            <a:graphicFrameLocks/>
          </p:cNvGraphicFramePr>
          <p:nvPr/>
        </p:nvGraphicFramePr>
        <p:xfrm>
          <a:off x="373938" y="4030536"/>
          <a:ext cx="8374062" cy="1781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9" name="Rounded Rectangle 18"/>
          <p:cNvSpPr/>
          <p:nvPr/>
        </p:nvSpPr>
        <p:spPr bwMode="gray">
          <a:xfrm>
            <a:off x="373938" y="1325881"/>
            <a:ext cx="4655262" cy="457200"/>
          </a:xfrm>
          <a:prstGeom prst="round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Rozhodný den zpětně</a:t>
            </a:r>
          </a:p>
        </p:txBody>
      </p:sp>
      <p:sp>
        <p:nvSpPr>
          <p:cNvPr id="20" name="Rounded Rectangle 19"/>
          <p:cNvSpPr/>
          <p:nvPr/>
        </p:nvSpPr>
        <p:spPr bwMode="gray">
          <a:xfrm>
            <a:off x="373938" y="3801936"/>
            <a:ext cx="4655262" cy="457200"/>
          </a:xfrm>
          <a:prstGeom prst="round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Rozhodný den do budoucna</a:t>
            </a:r>
          </a:p>
        </p:txBody>
      </p:sp>
    </p:spTree>
    <p:extLst>
      <p:ext uri="{BB962C8B-B14F-4D97-AF65-F5344CB8AC3E}">
        <p14:creationId xmlns:p14="http://schemas.microsoft.com/office/powerpoint/2010/main" val="265178052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hodný de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§ 176 OZ</a:t>
            </a:r>
          </a:p>
          <a:p>
            <a:r>
              <a:rPr lang="cs-CZ" dirty="0"/>
              <a:t>(1) Při přeměně musí být stanoven rozhodný den, od něhož se jednání zanikající právnické osoby považuje z účetního hlediska za jednání uskutečněné na účet nástupnické právnické osoby.</a:t>
            </a:r>
          </a:p>
          <a:p>
            <a:r>
              <a:rPr lang="cs-CZ" dirty="0"/>
              <a:t>(2) Ke dni předcházejícímu rozhodný den sestaví zanikající právnická osoba nebo právnická osoba rozdělovaná odštěpením konečnou účetní závěrku. K rozhodnému dni sestaví nástupnická právnická osoba nebo právnická osoba rozdělovaná odštěpením zahajovací rozvahu.</a:t>
            </a:r>
          </a:p>
          <a:p>
            <a:r>
              <a:rPr lang="cs-CZ" dirty="0"/>
              <a:t>§ 10 </a:t>
            </a:r>
            <a:r>
              <a:rPr lang="cs-CZ" dirty="0" err="1"/>
              <a:t>ZPř</a:t>
            </a:r>
            <a:endParaRPr lang="cs-CZ" dirty="0"/>
          </a:p>
          <a:p>
            <a:r>
              <a:rPr lang="cs-CZ" dirty="0"/>
              <a:t>(1) Rozhodný den se určuje pouze při fúzi, rozdělení nebo převodu jmění na společníka.</a:t>
            </a:r>
          </a:p>
          <a:p>
            <a:r>
              <a:rPr lang="cs-CZ" dirty="0"/>
              <a:t>(2) Při rozdělení odštěpením nastávají účinky rozhodného dne jen ve vztahu k těm jednáním, která se týkají majetku nebo dluhů, jež mají podle projektu rozdělení přejít na nástupnickou společnost nebo družstvo.</a:t>
            </a:r>
          </a:p>
          <a:p>
            <a:r>
              <a:rPr lang="cs-CZ" dirty="0"/>
              <a:t>(3) Rozhodný den nemůže předcházet o více než 12 měsíců den, v němž bude podán návrh na zápis přeměny do obchodního rejstříku. Jako rozhodný den může být stanoven nejpozději den zápisu fúze, rozdělení nebo převodu jmění na společníka do obchodního rejstříku. Určí-li projekt přeměny den pozdější, považuje se za rozhodný den </a:t>
            </a:r>
            <a:r>
              <a:rPr lang="cs-CZ" dirty="0" err="1"/>
              <a:t>den</a:t>
            </a:r>
            <a:r>
              <a:rPr lang="cs-CZ" dirty="0"/>
              <a:t> zápisu přeměny do obchodního rejstříku.</a:t>
            </a:r>
          </a:p>
        </p:txBody>
      </p:sp>
    </p:spTree>
    <p:extLst>
      <p:ext uri="{BB962C8B-B14F-4D97-AF65-F5344CB8AC3E}">
        <p14:creationId xmlns:p14="http://schemas.microsoft.com/office/powerpoint/2010/main" val="113245679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cenění jmě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cenění jmění znalcem jmenovaným soudem:</a:t>
            </a:r>
          </a:p>
          <a:p>
            <a:pPr marL="351450" lvl="1" indent="-171450"/>
            <a:r>
              <a:rPr lang="cs-CZ" dirty="0"/>
              <a:t>Při fúzi sloučením společnosti s ručením omezeným nebo akciové společnosti jen dochází-li ke zvýšení základního kapitálu nástupnické společnosti ze jmění zanikající společnosti.</a:t>
            </a:r>
          </a:p>
          <a:p>
            <a:pPr marL="351450" lvl="1" indent="-171450"/>
            <a:r>
              <a:rPr lang="cs-CZ" dirty="0"/>
              <a:t>Při fúzi splynutím vždy každá zúčastněná společnost s ručením omezeným nebo akciová společnos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cenění jmění ke dni zpracování poslední řádné nebo mimořádné anebo konečné účetní závěrky sestavované zanikající společností před vyhotovením projektu fúz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osudek znalce pro ocenění jmění musí obsahovat alespoň:</a:t>
            </a:r>
          </a:p>
          <a:p>
            <a:pPr marL="351450" lvl="1" indent="-171450"/>
            <a:r>
              <a:rPr lang="cs-CZ" dirty="0"/>
              <a:t>popis jmění zanikající společnosti,</a:t>
            </a:r>
          </a:p>
          <a:p>
            <a:pPr marL="351450" lvl="1" indent="-171450"/>
            <a:r>
              <a:rPr lang="cs-CZ" dirty="0"/>
              <a:t>použité způsoby ocenění,</a:t>
            </a:r>
          </a:p>
          <a:p>
            <a:pPr marL="351450" lvl="1" indent="-171450"/>
            <a:r>
              <a:rPr lang="cs-CZ" dirty="0"/>
              <a:t>částku, na kterou se jmění zanikající společnosti oceňuje (s vyloučením „vlastních podílů/akcií“),</a:t>
            </a:r>
          </a:p>
          <a:p>
            <a:pPr marL="351450" lvl="1" indent="-171450"/>
            <a:r>
              <a:rPr lang="cs-CZ" dirty="0"/>
              <a:t>při fúzi splynutím i údaj, zda tato částka odpovídá součtu vkladů do základního kapitálu nástupnické společnosti s ručením omezeným, jež se váží k podílům v nástupnické společnosti, které získají společníci této zanikající společnosti výměnou za podíly na této zanikající společnosti s ručením omezeným, nebo součtu jmenovitých nebo účetních hodnot akcií nástupnické akciové společnosti, jež mají být vydány pro akcionáře této zanikající akciové společnosti, a</a:t>
            </a:r>
          </a:p>
          <a:p>
            <a:pPr marL="351450" lvl="1" indent="-171450"/>
            <a:r>
              <a:rPr lang="cs-CZ" dirty="0"/>
              <a:t>při fúzi sloučením i údaj o tom, zda tato částka odpovídá alespoň částce zvýšení základního kapitálu, jež připadá na společníky dané zanikající společnosti podle § 73 odst. 1 </a:t>
            </a:r>
            <a:r>
              <a:rPr lang="cs-CZ" dirty="0" err="1"/>
              <a:t>ZPř</a:t>
            </a:r>
            <a:r>
              <a:rPr lang="cs-CZ" dirty="0"/>
              <a:t>.</a:t>
            </a:r>
          </a:p>
          <a:p>
            <a:r>
              <a:rPr lang="cs-CZ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780879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800" b="1" dirty="0"/>
              <a:t>Přeměny obchodních společností se zaměřením na fúze a rozdělení</a:t>
            </a:r>
          </a:p>
        </p:txBody>
      </p:sp>
    </p:spTree>
    <p:extLst>
      <p:ext uri="{BB962C8B-B14F-4D97-AF65-F5344CB8AC3E}">
        <p14:creationId xmlns:p14="http://schemas.microsoft.com/office/powerpoint/2010/main" val="3996645626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jekt fúze / rozdělení - obecné náležitosti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Projekt musí obsahova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firmu a sídlo všech zúčastněných a nových společností nebo družstev, jejich právní formu a identifikační číslo všech zúčastněných společností nebo družstev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ýměnný poměr podílů / akcií (ledaže nedochází k výměně podílů) a případný doplatek s určením jeho výše a dobu splatnosti </a:t>
            </a:r>
            <a:r>
              <a:rPr lang="cs-CZ" u="sng" dirty="0"/>
              <a:t>+ specifické údaje dle právní formy</a:t>
            </a:r>
            <a:r>
              <a:rPr lang="cs-CZ" dirty="0"/>
              <a:t>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rozhodný den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ráva, jež nástupnická společnost nebo družstvo poskytne vlastníkům dluhopisů, popřípadě opatření, jež jsou pro ně navrhována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den, od kterého vzniká právo na podíl na zisku komanditistům nebo společníkům společnosti s ručením omezeným nebo akcionářům z vyměněných podílů, jakož i zvláštní podmínky týkající se tohoto práva, pokud existují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šechny zvláštní výhody, které jedna nebo více zúčastněných společností nebo družstev poskytuje členům statutárního orgánu, členům dozorčí rady, správní rady nebo kontrolní komise, pokud se zřizuje, a znalci přezkoumávajícímu projekt fúze; přitom se zvlášť uvede, komu je tato výhoda poskytována a kdo a za jakých podmínek ji poskytuje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akladatelské právní jednání (změny) popř. obsazení orgánů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rozdělení i rozdělení zaměstnanců, majetku a dluhů (závazků) a při rozštěpení určení, na kterou nástupnickou společnost nebo družstvo přechází daňová povinnost zanikající společnosti nebo družstva.</a:t>
            </a:r>
          </a:p>
        </p:txBody>
      </p:sp>
    </p:spTree>
    <p:extLst>
      <p:ext uri="{BB962C8B-B14F-4D97-AF65-F5344CB8AC3E}">
        <p14:creationId xmlns:p14="http://schemas.microsoft.com/office/powerpoint/2010/main" val="18239740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práva statutárního orgánu zúčastněné společnosti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Zpráva statutárního orgánu zúčastněné společnosti obsahuje:</a:t>
            </a:r>
          </a:p>
          <a:p>
            <a:r>
              <a:rPr lang="cs-CZ" dirty="0"/>
              <a:t>a) odůvodnění výměnného poměru podílů z právního i ekonomického hlediska, dochází-li k jejich výměně, a objasnění kritéria použitého pro rozdělení podílů v nástupnických společnostech nebo družstvech při rozdělení,</a:t>
            </a:r>
          </a:p>
          <a:p>
            <a:r>
              <a:rPr lang="cs-CZ" dirty="0"/>
              <a:t>b) odůvodnění výše případných doplatků,</a:t>
            </a:r>
          </a:p>
          <a:p>
            <a:r>
              <a:rPr lang="cs-CZ" dirty="0"/>
              <a:t>c) vysvětlení opatření ve prospěch vlastníků jednotlivých druhů cenných papírů emitovaných osobou zúčastněnou na přeměně,</a:t>
            </a:r>
          </a:p>
          <a:p>
            <a:r>
              <a:rPr lang="cs-CZ" dirty="0"/>
              <a:t>d) popis obtíží, které se vyskytly při oceňování, nebo údaj, že se žádné obtíže nevyskytly,</a:t>
            </a:r>
          </a:p>
          <a:p>
            <a:r>
              <a:rPr lang="cs-CZ" dirty="0"/>
              <a:t>e) změny ekonomického a právního postavení společníků nebo členů, včetně změny rozsahu ručení společníků společností nebo členů družstev nebo některých z nich, pokud se rozsah ručení společníků nebo členů nebo některých z nich mění, a</a:t>
            </a:r>
          </a:p>
          <a:p>
            <a:r>
              <a:rPr lang="cs-CZ" dirty="0"/>
              <a:t>f) dopady přeměny na věřitele osoby zúčastněné na přeměně, zejména z hlediska dobytnosti jejich pohledávek.</a:t>
            </a:r>
          </a:p>
          <a:p>
            <a:r>
              <a:rPr lang="cs-CZ" b="1" dirty="0"/>
              <a:t>Nevyžaduje se mj. při přeměně v.o.s. či k.s. a při fúzi s.r.o./a.s. s jejím jediným společníkem nebo pokud souhlasí všichni společníci.</a:t>
            </a:r>
          </a:p>
        </p:txBody>
      </p:sp>
    </p:spTree>
    <p:extLst>
      <p:ext uri="{BB962C8B-B14F-4D97-AF65-F5344CB8AC3E}">
        <p14:creationId xmlns:p14="http://schemas.microsoft.com/office/powerpoint/2010/main" val="4230119815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nalecká zpráva o fúzi / rozdělení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Znalecká zpráva o fúzi / rozdělení musí obsahovat:</a:t>
            </a:r>
          </a:p>
          <a:p>
            <a:r>
              <a:rPr lang="cs-CZ" dirty="0"/>
              <a:t>a) stanovisko znalce pro fúzi k tomu, zda výměnný poměr s případnými doplatky je vhodný a odůvodněný,</a:t>
            </a:r>
          </a:p>
          <a:p>
            <a:r>
              <a:rPr lang="cs-CZ" dirty="0"/>
              <a:t>b) údaj, podle jaké metody nebo jakých metod byl stanoven výměnný poměr,</a:t>
            </a:r>
          </a:p>
          <a:p>
            <a:r>
              <a:rPr lang="cs-CZ" dirty="0"/>
              <a:t>c) vyjádření, zda tato metoda nebo tyto metody jsou pro daný případ přiměřené,</a:t>
            </a:r>
          </a:p>
          <a:p>
            <a:r>
              <a:rPr lang="cs-CZ" dirty="0"/>
              <a:t>d) údaj, jakých výměnných poměrů by se dosáhlo při použití každé z metod, jestliže bylo použito více metod; současně se uvede stanovisko k tomu, jaká váha byla přiznána jednotlivým metodám při stanovení výměnného poměru,</a:t>
            </a:r>
          </a:p>
          <a:p>
            <a:r>
              <a:rPr lang="cs-CZ" dirty="0"/>
              <a:t>e) zda a jaké zvláštní obtíže se vyskytly při oceňování.</a:t>
            </a:r>
          </a:p>
          <a:p>
            <a:endParaRPr lang="cs-CZ" dirty="0"/>
          </a:p>
          <a:p>
            <a:r>
              <a:rPr lang="cs-CZ" b="1" dirty="0"/>
              <a:t>Nevyžaduje 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s.r.o. nevyžádá-li si společník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 a.s. jestliže s tím souhlasili všichni akcionáři všech zúčastněných společností nebo jestliže se společnost slučuje se svým jediným akcionářem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38173896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veřejnění a informace pro společníky a zaměstnan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Alespoň 1 měsíc před valnou hromadou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ložit do sbírky listin obchodního rejstříku projekt přemě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veřejní oznámení o uložení projektu přeměny do sbírky listin a upozornění pro věřitele na jejich práva podle § 35 až 39 </a:t>
            </a:r>
            <a:r>
              <a:rPr lang="cs-CZ" dirty="0" err="1"/>
              <a:t>ZPř</a:t>
            </a:r>
            <a:r>
              <a:rPr lang="cs-CZ" dirty="0"/>
              <a:t>.</a:t>
            </a:r>
          </a:p>
          <a:p>
            <a:r>
              <a:rPr lang="cs-CZ" dirty="0"/>
              <a:t>Podklady pro společníky ve stejném předstihu před valnou hromadou jako její svolání (s.r.o. doručit 2 týdny před, a.s. v sídle alespoň 1 měsíc před)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rojek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Účetní závěrky za poslední 3 období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Konečné účetní závěrky a zahajovací rozvah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Mezitímní účetní závěrku ne starší 3 měsíců (je-poslední závěrka starší 6 měsíců) – doba ve vztahu k vyhotovení projekt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práva statutárního orgán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nalecká zpráv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osudek znalce pro ocenění jmění, pokud se vyžaduje a není-li součástí znalecké zprávy o fúzi.</a:t>
            </a:r>
          </a:p>
          <a:p>
            <a:r>
              <a:rPr lang="cs-CZ" dirty="0"/>
              <a:t>Změna zaměstnavatele – informování a projednání (odborová organizace a rada zaměstnanců / zaměstnanci) dle § 338 a násl. zákoníku práce.</a:t>
            </a:r>
          </a:p>
          <a:p>
            <a:r>
              <a:rPr lang="cs-CZ" dirty="0"/>
              <a:t>Oznámení správci daně dle § 23d zákona o daních z příjmů (převzetí daňových položek).</a:t>
            </a:r>
          </a:p>
        </p:txBody>
      </p:sp>
    </p:spTree>
    <p:extLst>
      <p:ext uri="{BB962C8B-B14F-4D97-AF65-F5344CB8AC3E}">
        <p14:creationId xmlns:p14="http://schemas.microsoft.com/office/powerpoint/2010/main" val="176759940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a věřitelů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83576"/>
            <a:ext cx="8374062" cy="4713911"/>
          </a:xfrm>
        </p:spPr>
        <p:txBody>
          <a:bodyPr/>
          <a:lstStyle/>
          <a:p>
            <a:r>
              <a:rPr lang="cs-CZ" b="1" dirty="0"/>
              <a:t>§ 35 </a:t>
            </a:r>
            <a:r>
              <a:rPr lang="cs-CZ" b="1" dirty="0" err="1"/>
              <a:t>ZPř</a:t>
            </a:r>
            <a:r>
              <a:rPr lang="cs-CZ" b="1" dirty="0"/>
              <a:t>.</a:t>
            </a:r>
          </a:p>
          <a:p>
            <a:r>
              <a:rPr lang="cs-CZ" dirty="0"/>
              <a:t>(1) Věřitelé osob zúčastněných na přeměně, kteří přihlásí své nesplatné pohledávky do 6 měsíců ode dne, kdy se zápis přeměny do obchodního rejstříku stal účinným vůči třetím osobám, mohou požadovat poskytnutí dostatečné jistoty, jestliže se v důsledku přeměny zhorší dobytnost jejich pohledávek. Marným uplynutím této lhůty toto právo zaniká.</a:t>
            </a:r>
          </a:p>
          <a:p>
            <a:r>
              <a:rPr lang="cs-CZ" dirty="0"/>
              <a:t>(2) Nedojde-li mezi věřitelem a osobou zúčastněnou na přeměně či nástupnickou společností nebo družstvem k dohodě o způsobu zajištění pohledávky, rozhodne o dostatečném zajištění soud s ohledem na druh a výši pohledávky.</a:t>
            </a:r>
          </a:p>
          <a:p>
            <a:r>
              <a:rPr lang="cs-CZ" dirty="0"/>
              <a:t>(3) Jestliže věřitel prokáže, že se v důsledku přeměny podstatným způsobem sníží dobytnost jeho pohledávky a osoba zúčastněná na přeměně neposkytla přiměřené zajištění, může požadovat poskytnutí dostatečné jistoty ještě před zápisem přeměny do obchodního rejstříku.</a:t>
            </a:r>
          </a:p>
          <a:p>
            <a:r>
              <a:rPr lang="cs-CZ" b="1" dirty="0"/>
              <a:t>§ 36 </a:t>
            </a:r>
            <a:r>
              <a:rPr lang="cs-CZ" b="1" dirty="0" err="1"/>
              <a:t>ZPř</a:t>
            </a:r>
            <a:r>
              <a:rPr lang="cs-CZ" b="1" dirty="0"/>
              <a:t>: Právo na poskytnutí jistoty nemají věřitelé,</a:t>
            </a:r>
          </a:p>
          <a:p>
            <a:r>
              <a:rPr lang="cs-CZ" dirty="0"/>
              <a:t>a) kteří mají právo na přednostní uspokojení svých pohledávek v insolvenčním řízení,</a:t>
            </a:r>
          </a:p>
          <a:p>
            <a:r>
              <a:rPr lang="cs-CZ" dirty="0"/>
              <a:t>b) kteří se pro účely insolvenčního řízení považují za zajištěné věřitele, nebo</a:t>
            </a:r>
          </a:p>
          <a:p>
            <a:r>
              <a:rPr lang="cs-CZ" dirty="0"/>
              <a:t>c) jejichž pohledávky vznikly až po zápisu přeměny do obchodního rejstříku.</a:t>
            </a:r>
          </a:p>
          <a:p>
            <a:r>
              <a:rPr lang="cs-CZ" b="1" dirty="0"/>
              <a:t>§ 257 a násl. </a:t>
            </a:r>
            <a:r>
              <a:rPr lang="cs-CZ" b="1" dirty="0" err="1"/>
              <a:t>ZPř</a:t>
            </a:r>
            <a:r>
              <a:rPr lang="cs-CZ" b="1" dirty="0"/>
              <a:t> – vzájemné ručení při rozdělení:</a:t>
            </a:r>
          </a:p>
          <a:p>
            <a:r>
              <a:rPr lang="cs-CZ" dirty="0"/>
              <a:t>Každá z nástupnických společností ručí za dluhy, jež přešly v důsledku rozdělení ze zaniklé nebo rozdělované společnosti na ostatní nástupnické společnosti nebo zůstaly rozdělované společnosti při odštěpení, společně a nerozdílně s ostatními nástupnickými společnostmi až do částky ocenění jmění, jež na ni mělo přejít podle projektu rozdělení uvedené v posudku znalce pro ocenění jmění. </a:t>
            </a:r>
          </a:p>
        </p:txBody>
      </p:sp>
    </p:spTree>
    <p:extLst>
      <p:ext uri="{BB962C8B-B14F-4D97-AF65-F5344CB8AC3E}">
        <p14:creationId xmlns:p14="http://schemas.microsoft.com/office/powerpoint/2010/main" val="1415240455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chválení valnou hromado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Přeměna musí být schválena alespoň třemi čtvrtinami hlasů společníků / akcionářů přítomných na valné hromadě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O rozhodnutí valné hromady o přeměně musí být pořízen notářský zápis, jehož přílohou je projekt přeměn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Usnesení valné hromady zúčastněné společnosti o schválení fúze / rozdělení musí obsahovat schválení</a:t>
            </a:r>
          </a:p>
          <a:p>
            <a:pPr marL="351450" lvl="1" indent="-171450"/>
            <a:r>
              <a:rPr lang="cs-CZ" dirty="0"/>
              <a:t>projektu,</a:t>
            </a:r>
          </a:p>
          <a:p>
            <a:pPr marL="351450" lvl="1" indent="-171450"/>
            <a:r>
              <a:rPr lang="cs-CZ" dirty="0"/>
              <a:t>konečné účetní závěrky a zahajovací rozvahy, pokud rozhodný den předchází vyhotovení projektu, popřípadě mezitímní účetní závěrk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Statutární orgán s.r.o. / a.s. seznámí před hlasováním o schválení fúze / rozdělení společníky / akcionáře se znaleckou zprávou, pokud se vyžaduje, a se všemi podstatnými změnami týkajícími se jmění, k nimž došlo v období od vyhotovení projektu do dne konání valné hromady, ve všech zúčastněných společnostech. Správnost oznámení o změnách týkající se jmění musí být potvrzena auditorem, pokud podléhá společnost povinnému auditu, nebo znalcem, který prováděl ocenění jmění. Společníci / akcionáři se toho mohou vzdát.</a:t>
            </a:r>
          </a:p>
        </p:txBody>
      </p:sp>
    </p:spTree>
    <p:extLst>
      <p:ext uri="{BB962C8B-B14F-4D97-AF65-F5344CB8AC3E}">
        <p14:creationId xmlns:p14="http://schemas.microsoft.com/office/powerpoint/2010/main" val="4172846257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pis do obchodního rejstříku a navazující krok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Kroky a milníky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§ 177 (1) OZ: Účinnost přeměny právnické osoby zapisované do veřejného rejstříku nastává dnem zápisu do veřejného rejstříku. </a:t>
            </a:r>
          </a:p>
          <a:p>
            <a:r>
              <a:rPr lang="cs-CZ" dirty="0"/>
              <a:t>Po zápisu do obchodního rejstříku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hodné oznámit smluvním partnerům, dlužníkům a věřitelům účinnost přeměn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aměstnanci – oznámit přechod na ZP, SS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Vklad vlastnického práva k nemovitým věcem do katastru nemovitostí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měna IP v registrech UP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Změna vlastníka motorových vozi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dirty="0"/>
              <a:t>atp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1695283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Zadání samostatné prác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4560112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sz="2000" dirty="0"/>
              <a:t>Písemná esej (vlastní úvaha na zadané téma) se zadáním:</a:t>
            </a:r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/>
            <a:r>
              <a:rPr lang="cs-CZ" sz="1400" dirty="0"/>
              <a:t>Rozdělení odštěpením společnosti A se vznikem nové společnosti B:</a:t>
            </a:r>
          </a:p>
          <a:p>
            <a:pPr marL="450238" lvl="2" indent="-285750"/>
            <a:r>
              <a:rPr lang="cs-CZ" sz="1400" dirty="0"/>
              <a:t>Společnost A vlastní dva výrobní závody: Závod 1, který si po rozdělení ponechá a Závod 2, který přejde na nástupnickou společnost B.</a:t>
            </a:r>
          </a:p>
          <a:p>
            <a:pPr marL="450238" lvl="2" indent="-285750"/>
            <a:r>
              <a:rPr lang="cs-CZ" sz="1400" dirty="0"/>
              <a:t>V projektu rozdělení společnost A popíše majetek, dluhy a zaměstnance, kteří přejdou rozdělením na společnost B, a to dle stavu ke dni vyhotovení projektu.</a:t>
            </a:r>
          </a:p>
          <a:p>
            <a:pPr marL="450238" lvl="2" indent="-285750"/>
            <a:r>
              <a:rPr lang="cs-CZ" sz="1400" dirty="0"/>
              <a:t>Dokončení (právní účinky) rozdělení nastanou až zápisem do obchodního rejstříku tři měsíce po dni vyhotovení projektu. Během těchto tří měsíců však v rámci Závodu 2 dojde k nabytí nového majetku, vzniku nových dluhů, nástupu nových zaměstnanců, atd.</a:t>
            </a:r>
          </a:p>
          <a:p>
            <a:pPr marL="450238" lvl="2" indent="-285750"/>
            <a:r>
              <a:rPr lang="cs-CZ" sz="1400" dirty="0"/>
              <a:t>Popište jak byste právně ošetřili tyto nové položky majetku, dluhů a zaměstnance v projektu rozdělení, když je ke dni jeho vyhotovení neznáte, tak, aby bylo po dokončení rozdělení z projektu jasné, že přešly na společnost B.</a:t>
            </a:r>
          </a:p>
          <a:p>
            <a:pPr marL="357188" lvl="1" indent="-357188"/>
            <a:r>
              <a:rPr lang="cs-CZ" sz="1400" dirty="0"/>
              <a:t>rozsah: cca 2 normostrany</a:t>
            </a:r>
          </a:p>
          <a:p>
            <a:pPr marL="357188" lvl="1" indent="-357188"/>
            <a:r>
              <a:rPr lang="cs-CZ" sz="1400" dirty="0"/>
              <a:t>struktura: jméno a datum, úvod, hlavní část, závěr, zdroje, příp. použitá literatura</a:t>
            </a:r>
          </a:p>
          <a:p>
            <a:pPr marL="357188" lvl="1" indent="-357188"/>
            <a:r>
              <a:rPr lang="cs-CZ" sz="1400" dirty="0"/>
              <a:t>termín odevzdání: nejpozději </a:t>
            </a:r>
            <a:r>
              <a:rPr lang="cs-CZ" sz="1400" b="1" u="sng" dirty="0"/>
              <a:t>v pátek večer před následujícím seminářem</a:t>
            </a:r>
            <a:r>
              <a:rPr lang="cs-CZ" sz="1400" b="1" dirty="0">
                <a:solidFill>
                  <a:srgbClr val="86BC25"/>
                </a:solidFill>
              </a:rPr>
              <a:t> </a:t>
            </a:r>
            <a:r>
              <a:rPr lang="cs-CZ" sz="1400" dirty="0"/>
              <a:t>zaslat vypracovaný úkol emailem </a:t>
            </a:r>
            <a:r>
              <a:rPr lang="cs-CZ" sz="1600" dirty="0"/>
              <a:t>(</a:t>
            </a:r>
            <a:r>
              <a:rPr lang="cs-CZ" sz="1400" dirty="0"/>
              <a:t>PŘEDMĚT emailu: Volitelný předmět Fúze a akvizice, TO: </a:t>
            </a:r>
            <a:r>
              <a:rPr lang="cs-CZ" sz="1400" dirty="0">
                <a:hlinkClick r:id="rId2"/>
              </a:rPr>
              <a:t>psuchy@deloitteCE.com</a:t>
            </a:r>
            <a:r>
              <a:rPr lang="cs-CZ" sz="1400" dirty="0"/>
              <a:t>; </a:t>
            </a:r>
            <a:r>
              <a:rPr lang="cs-CZ" sz="1400" dirty="0" err="1">
                <a:solidFill>
                  <a:srgbClr val="FF0000"/>
                </a:solidFill>
                <a:hlinkClick r:id="rId3"/>
              </a:rPr>
              <a:t>ivan@telecky.legal</a:t>
            </a:r>
            <a:r>
              <a:rPr lang="cs-CZ" sz="1400">
                <a:solidFill>
                  <a:srgbClr val="FF0000"/>
                </a:solidFill>
              </a:rPr>
              <a:t> </a:t>
            </a:r>
            <a:r>
              <a:rPr lang="cs-CZ" sz="1600"/>
              <a:t>)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733703533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rávní úprava přeměn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5511284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ávní předpisy k přeměnám obchodních korporac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Právní úprava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74432"/>
            <a:ext cx="8374062" cy="4713911"/>
          </a:xfrm>
        </p:spPr>
        <p:txBody>
          <a:bodyPr/>
          <a:lstStyle/>
          <a:p>
            <a:pPr lvl="1"/>
            <a:r>
              <a:rPr lang="cs-CZ" sz="1600" dirty="0"/>
              <a:t>Rámcová úprava přeměn právnických osob v § 174 a násl. Občanského zákoníku č. 89/2012 Sb. („</a:t>
            </a:r>
            <a:r>
              <a:rPr lang="cs-CZ" sz="1600" b="1" dirty="0"/>
              <a:t>OZ</a:t>
            </a:r>
            <a:r>
              <a:rPr lang="cs-CZ" sz="1600" dirty="0"/>
              <a:t>“)</a:t>
            </a:r>
          </a:p>
          <a:p>
            <a:pPr lvl="1"/>
            <a:r>
              <a:rPr lang="cs-CZ" sz="1600" dirty="0"/>
              <a:t>Zvláštní úprava zákonem č. 125/2008 Sb. o přeměnách obchodních společností a družstev („</a:t>
            </a:r>
            <a:r>
              <a:rPr lang="cs-CZ" sz="1600" b="1" dirty="0" err="1"/>
              <a:t>ZPř</a:t>
            </a:r>
            <a:r>
              <a:rPr lang="cs-CZ" sz="1600" dirty="0"/>
              <a:t>“)</a:t>
            </a:r>
          </a:p>
          <a:p>
            <a:pPr lvl="1"/>
            <a:r>
              <a:rPr lang="cs-CZ" sz="1600" dirty="0"/>
              <a:t>Obecná úprava obchodních korporací zákonem č. 90/2012 Sb. o obchodních společnostech a družstvech</a:t>
            </a:r>
          </a:p>
          <a:p>
            <a:pPr lvl="1"/>
            <a:r>
              <a:rPr lang="cs-CZ" sz="1600" dirty="0"/>
              <a:t>Další právní předpisy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304/2013 Sb. o veřejných rejstřících právnických a fyzických osob a o evidenci </a:t>
            </a:r>
            <a:r>
              <a:rPr lang="cs-CZ" sz="1600" dirty="0" err="1"/>
              <a:t>svěřenských</a:t>
            </a:r>
            <a:r>
              <a:rPr lang="cs-CZ" sz="1600" dirty="0"/>
              <a:t> fondů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Směrnice Evropského parlamentu a Rady 2005/56/ES </a:t>
            </a:r>
            <a:br>
              <a:rPr lang="cs-CZ" sz="1600" dirty="0"/>
            </a:br>
            <a:r>
              <a:rPr lang="cs-CZ" sz="1600" dirty="0"/>
              <a:t>o přeshraničních fúzích kapitálových společností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256/2013 Sb. o katastru nemovitostí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58/1992 Sb. o notářích a jejich činnosti (notářský řád)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sz="1600" dirty="0" err="1"/>
              <a:t>Zákon</a:t>
            </a:r>
            <a:r>
              <a:rPr lang="pl-PL" sz="1600" dirty="0"/>
              <a:t> č. 563/1991 Sb. o </a:t>
            </a:r>
            <a:r>
              <a:rPr lang="pl-PL" sz="1600" dirty="0" err="1"/>
              <a:t>účetnictví</a:t>
            </a:r>
            <a:endParaRPr lang="pl-PL" sz="1600" dirty="0"/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600" dirty="0"/>
              <a:t>Zákon č. 292/2013 Sb. o zvláštních řízeních soudních</a:t>
            </a:r>
          </a:p>
        </p:txBody>
      </p:sp>
    </p:spTree>
    <p:extLst>
      <p:ext uri="{BB962C8B-B14F-4D97-AF65-F5344CB8AC3E}">
        <p14:creationId xmlns:p14="http://schemas.microsoft.com/office/powerpoint/2010/main" val="423552317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Fúz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louč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Fúz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61 (1) Fúzí sloučením dochází k zániku společnosti nebo družstva nebo více společností nebo družstev a přechodu jmění zanikající společnosti nebo družstva na nástupnickou společnost nebo družstvo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532888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172456" y="4063243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2016252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4655820" y="2422543"/>
            <a:ext cx="2496312" cy="1133856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B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3264408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4" idx="4"/>
            <a:endCxn id="10" idx="0"/>
          </p:cNvCxnSpPr>
          <p:nvPr/>
        </p:nvCxnSpPr>
        <p:spPr>
          <a:xfrm>
            <a:off x="5903976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ight Arrow 20"/>
          <p:cNvSpPr/>
          <p:nvPr/>
        </p:nvSpPr>
        <p:spPr bwMode="gray">
          <a:xfrm>
            <a:off x="4129277" y="4042669"/>
            <a:ext cx="1002792" cy="763524"/>
          </a:xfrm>
          <a:prstGeom prst="rightArrow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Fúze</a:t>
            </a:r>
          </a:p>
        </p:txBody>
      </p:sp>
      <p:cxnSp>
        <p:nvCxnSpPr>
          <p:cNvPr id="23" name="Straight Connector 22"/>
          <p:cNvCxnSpPr>
            <a:stCxn id="11" idx="4"/>
            <a:endCxn id="10" idx="0"/>
          </p:cNvCxnSpPr>
          <p:nvPr/>
        </p:nvCxnSpPr>
        <p:spPr>
          <a:xfrm>
            <a:off x="3264408" y="3556399"/>
            <a:ext cx="2639568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gray">
          <a:xfrm>
            <a:off x="5265419" y="4434840"/>
            <a:ext cx="504446" cy="27953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97868231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14" grpId="0" animBg="1"/>
      <p:bldP spid="21" grpId="0" animBg="1"/>
      <p:bldP spid="21" grpId="1" animBg="1"/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lynu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F</a:t>
            </a:r>
            <a:r>
              <a:rPr lang="cs-CZ" sz="2400" b="1" dirty="0"/>
              <a:t>úz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62 Fúzí splynutím dochází k zániku dvou nebo více společností nebo družstev a přechodu jejich jmění na splynutím vzniklou nástupnickou společnost nebo družstvo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491670" y="4063445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5172456" y="4063243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2016252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4655820" y="2422543"/>
            <a:ext cx="2496312" cy="1133856"/>
          </a:xfrm>
          <a:prstGeom prst="ellipse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B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3264408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4" idx="4"/>
            <a:endCxn id="10" idx="0"/>
          </p:cNvCxnSpPr>
          <p:nvPr/>
        </p:nvCxnSpPr>
        <p:spPr>
          <a:xfrm>
            <a:off x="5903976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</p:cNvCxnSpPr>
          <p:nvPr/>
        </p:nvCxnSpPr>
        <p:spPr>
          <a:xfrm>
            <a:off x="3264408" y="3556399"/>
            <a:ext cx="1289907" cy="1550801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gray">
          <a:xfrm>
            <a:off x="3830599" y="5100989"/>
            <a:ext cx="1463040" cy="722376"/>
          </a:xfrm>
          <a:prstGeom prst="rect">
            <a:avLst/>
          </a:prstGeom>
          <a:solidFill>
            <a:srgbClr val="9DD4C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  <p:cxnSp>
        <p:nvCxnSpPr>
          <p:cNvPr id="18" name="Straight Connector 17"/>
          <p:cNvCxnSpPr>
            <a:stCxn id="14" idx="4"/>
            <a:endCxn id="13" idx="0"/>
          </p:cNvCxnSpPr>
          <p:nvPr/>
        </p:nvCxnSpPr>
        <p:spPr>
          <a:xfrm flipH="1">
            <a:off x="4562119" y="3556399"/>
            <a:ext cx="1341857" cy="154459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own Arrow Callout 19"/>
          <p:cNvSpPr/>
          <p:nvPr/>
        </p:nvSpPr>
        <p:spPr bwMode="gray">
          <a:xfrm>
            <a:off x="4014145" y="4149411"/>
            <a:ext cx="1095946" cy="862843"/>
          </a:xfrm>
          <a:prstGeom prst="down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Fúze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3909361" y="5484585"/>
            <a:ext cx="504446" cy="27953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4720129" y="5499702"/>
            <a:ext cx="504446" cy="2795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/>
          </a:p>
        </p:txBody>
      </p:sp>
    </p:spTree>
    <p:extLst>
      <p:ext uri="{BB962C8B-B14F-4D97-AF65-F5344CB8AC3E}">
        <p14:creationId xmlns:p14="http://schemas.microsoft.com/office/powerpoint/2010/main" val="3029016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0" grpId="1" animBg="1"/>
      <p:bldP spid="11" grpId="0" animBg="1"/>
      <p:bldP spid="14" grpId="0" animBg="1"/>
      <p:bldP spid="13" grpId="0" animBg="1"/>
      <p:bldP spid="20" grpId="0" animBg="1"/>
      <p:bldP spid="20" grpId="1" animBg="1"/>
      <p:bldP spid="27" grpId="0" animBg="1"/>
      <p:bldP spid="2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Rozdělen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dirty="0"/>
              <a:t>Rozštěpení</a:t>
            </a:r>
          </a:p>
        </p:txBody>
      </p:sp>
    </p:spTree>
    <p:extLst>
      <p:ext uri="{BB962C8B-B14F-4D97-AF65-F5344CB8AC3E}">
        <p14:creationId xmlns:p14="http://schemas.microsoft.com/office/powerpoint/2010/main" val="160988268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ozštěpení se vznikem nových společnost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b="1" dirty="0"/>
              <a:t>Rozdělen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None/>
            </a:pPr>
            <a:r>
              <a:rPr lang="cs-CZ" sz="1400" dirty="0" err="1"/>
              <a:t>ZPř</a:t>
            </a:r>
            <a:r>
              <a:rPr lang="cs-CZ" sz="1400" dirty="0"/>
              <a:t> § 243 (1) Rozdělení může mít formu (a) rozštěpení, v jehož důsledku rozdělovaná společnost nebo družstvo zaniká a její jmění přechází (1.) na více nově vznikajících společností nebo družstev (dále jen „rozštěpení se vznikem nových společností nebo družstev“).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3840480" y="4063243"/>
            <a:ext cx="1463040" cy="722376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A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1683829" y="4869177"/>
            <a:ext cx="1463040" cy="72237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B</a:t>
            </a:r>
          </a:p>
        </p:txBody>
      </p:sp>
      <p:sp>
        <p:nvSpPr>
          <p:cNvPr id="11" name="Oval 10"/>
          <p:cNvSpPr/>
          <p:nvPr/>
        </p:nvSpPr>
        <p:spPr bwMode="gray">
          <a:xfrm>
            <a:off x="3323844" y="2422543"/>
            <a:ext cx="2496312" cy="1133856"/>
          </a:xfrm>
          <a:prstGeom prst="ellipse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bg1"/>
                </a:solidFill>
              </a:rPr>
              <a:t>Společníci A</a:t>
            </a:r>
          </a:p>
        </p:txBody>
      </p:sp>
      <p:cxnSp>
        <p:nvCxnSpPr>
          <p:cNvPr id="16" name="Straight Connector 15"/>
          <p:cNvCxnSpPr>
            <a:stCxn id="11" idx="4"/>
            <a:endCxn id="9" idx="0"/>
          </p:cNvCxnSpPr>
          <p:nvPr/>
        </p:nvCxnSpPr>
        <p:spPr>
          <a:xfrm>
            <a:off x="4572000" y="3556399"/>
            <a:ext cx="0" cy="506844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1" idx="4"/>
            <a:endCxn id="10" idx="0"/>
          </p:cNvCxnSpPr>
          <p:nvPr/>
        </p:nvCxnSpPr>
        <p:spPr>
          <a:xfrm flipH="1">
            <a:off x="2415349" y="3556399"/>
            <a:ext cx="2156651" cy="131277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11" idx="4"/>
            <a:endCxn id="15" idx="0"/>
          </p:cNvCxnSpPr>
          <p:nvPr/>
        </p:nvCxnSpPr>
        <p:spPr>
          <a:xfrm>
            <a:off x="4572000" y="3556399"/>
            <a:ext cx="2156651" cy="1299059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Left-Right Arrow Callout 4"/>
          <p:cNvSpPr/>
          <p:nvPr/>
        </p:nvSpPr>
        <p:spPr bwMode="gray">
          <a:xfrm>
            <a:off x="3255264" y="4869177"/>
            <a:ext cx="2633472" cy="713232"/>
          </a:xfrm>
          <a:prstGeom prst="leftRightArrowCallout">
            <a:avLst/>
          </a:prstGeom>
          <a:solidFill>
            <a:srgbClr val="ED8B0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400" b="1" dirty="0"/>
              <a:t>Rozdělení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997131" y="4855458"/>
            <a:ext cx="1463040" cy="722376"/>
          </a:xfrm>
          <a:prstGeom prst="rect">
            <a:avLst/>
          </a:prstGeom>
          <a:solidFill>
            <a:srgbClr val="E3E48D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/>
              <a:t>Společnost C</a:t>
            </a:r>
          </a:p>
        </p:txBody>
      </p:sp>
    </p:spTree>
    <p:extLst>
      <p:ext uri="{BB962C8B-B14F-4D97-AF65-F5344CB8AC3E}">
        <p14:creationId xmlns:p14="http://schemas.microsoft.com/office/powerpoint/2010/main" val="13155226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9" grpId="1" animBg="1"/>
      <p:bldP spid="10" grpId="0" animBg="1"/>
      <p:bldP spid="11" grpId="0" animBg="1"/>
      <p:bldP spid="5" grpId="0" animBg="1"/>
      <p:bldP spid="5" grpId="1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8BABDD-D204-43E5-ABE2-92F7DE3017E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76ca6e04-17e0-47ec-b773-3638159c8fc2"/>
    <ds:schemaRef ds:uri="21eb89a5-23ae-485c-a2ff-d104f47c65f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B928853-E190-413A-8124-9D81C0BCFD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37</TotalTime>
  <Words>2593</Words>
  <Application>Microsoft Office PowerPoint</Application>
  <PresentationFormat>On-screen Show (4:3)</PresentationFormat>
  <Paragraphs>231</Paragraphs>
  <Slides>2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Verdana</vt:lpstr>
      <vt:lpstr>Wingdings 2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owerPoint Presentation</vt:lpstr>
      <vt:lpstr>Osnova semináře</vt:lpstr>
      <vt:lpstr>Právní úprava přeměn</vt:lpstr>
      <vt:lpstr>Právní úprava</vt:lpstr>
      <vt:lpstr>Fúze</vt:lpstr>
      <vt:lpstr>Fúze</vt:lpstr>
      <vt:lpstr>Fúze</vt:lpstr>
      <vt:lpstr>Rozdělení</vt:lpstr>
      <vt:lpstr>Rozdělení</vt:lpstr>
      <vt:lpstr>Rozdělení</vt:lpstr>
      <vt:lpstr>Rozdělení</vt:lpstr>
      <vt:lpstr>Rozdělení</vt:lpstr>
      <vt:lpstr>Rozdělení</vt:lpstr>
      <vt:lpstr>Rozdělení</vt:lpstr>
      <vt:lpstr>Rozdělení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Kroky a milníky</vt:lpstr>
      <vt:lpstr>Zadání samostatné práce</vt:lpstr>
      <vt:lpstr>Zadání samostatné práce</vt:lpstr>
      <vt:lpstr>Děkujeme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Suchy, Petr</cp:lastModifiedBy>
  <cp:revision>314</cp:revision>
  <cp:lastPrinted>2020-02-18T10:42:39Z</cp:lastPrinted>
  <dcterms:created xsi:type="dcterms:W3CDTF">2018-03-10T11:01:20Z</dcterms:created>
  <dcterms:modified xsi:type="dcterms:W3CDTF">2022-11-16T16:4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5:21:07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ce030da-3964-4080-8696-ed2e6275c013</vt:lpwstr>
  </property>
  <property fmtid="{D5CDD505-2E9C-101B-9397-08002B2CF9AE}" pid="9" name="MSIP_Label_ea60d57e-af5b-4752-ac57-3e4f28ca11dc_ContentBits">
    <vt:lpwstr>0</vt:lpwstr>
  </property>
</Properties>
</file>